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</p:sldMasterIdLst>
  <p:notesMasterIdLst>
    <p:notesMasterId r:id="rId33"/>
  </p:notesMasterIdLst>
  <p:sldIdLst>
    <p:sldId id="256" r:id="rId6"/>
    <p:sldId id="2262" r:id="rId7"/>
    <p:sldId id="2255" r:id="rId8"/>
    <p:sldId id="2256" r:id="rId9"/>
    <p:sldId id="2263" r:id="rId10"/>
    <p:sldId id="2264" r:id="rId11"/>
    <p:sldId id="2265" r:id="rId12"/>
    <p:sldId id="2266" r:id="rId13"/>
    <p:sldId id="2267" r:id="rId14"/>
    <p:sldId id="2268" r:id="rId15"/>
    <p:sldId id="2269" r:id="rId16"/>
    <p:sldId id="2270" r:id="rId17"/>
    <p:sldId id="2271" r:id="rId18"/>
    <p:sldId id="2272" r:id="rId19"/>
    <p:sldId id="2273" r:id="rId20"/>
    <p:sldId id="2274" r:id="rId21"/>
    <p:sldId id="2275" r:id="rId22"/>
    <p:sldId id="2276" r:id="rId23"/>
    <p:sldId id="2277" r:id="rId24"/>
    <p:sldId id="2278" r:id="rId25"/>
    <p:sldId id="2284" r:id="rId26"/>
    <p:sldId id="2279" r:id="rId27"/>
    <p:sldId id="2280" r:id="rId28"/>
    <p:sldId id="2281" r:id="rId29"/>
    <p:sldId id="2282" r:id="rId30"/>
    <p:sldId id="262" r:id="rId31"/>
    <p:sldId id="2283" r:id="rId3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rliss, Catherine T." initials="CT" lastIdx="2" clrIdx="0">
    <p:extLst>
      <p:ext uri="{19B8F6BF-5375-455C-9EA6-DF929625EA0E}">
        <p15:presenceInfo xmlns:p15="http://schemas.microsoft.com/office/powerpoint/2012/main" userId="S::ccorliss@partners.org::5956d913-b21d-4e7a-8a67-a50453e75f90" providerId="AD"/>
      </p:ext>
    </p:extLst>
  </p:cmAuthor>
  <p:cmAuthor id="2" name="Bero, Cynthia" initials="BC" lastIdx="2" clrIdx="1">
    <p:extLst>
      <p:ext uri="{19B8F6BF-5375-455C-9EA6-DF929625EA0E}">
        <p15:presenceInfo xmlns:p15="http://schemas.microsoft.com/office/powerpoint/2012/main" userId="S::cbero@partners.org::85a7032a-b480-4546-85f3-4c66dde10a4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5783"/>
    <a:srgbClr val="46B7BC"/>
    <a:srgbClr val="B0E3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51" autoAdjust="0"/>
    <p:restoredTop sz="89788" autoAdjust="0"/>
  </p:normalViewPr>
  <p:slideViewPr>
    <p:cSldViewPr snapToGrid="0">
      <p:cViewPr>
        <p:scale>
          <a:sx n="70" d="100"/>
          <a:sy n="70" d="100"/>
        </p:scale>
        <p:origin x="1056" y="20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DA1978A-90DA-4D85-AA46-49A49DB7CD55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6175308-9AC9-4AED-B3C5-9244C112974B}">
      <dgm:prSet phldrT="[Text]" custT="1"/>
      <dgm:spPr/>
      <dgm:t>
        <a:bodyPr/>
        <a:lstStyle/>
        <a:p>
          <a:r>
            <a:rPr lang="en-US" sz="2400" dirty="0">
              <a:solidFill>
                <a:schemeClr val="bg1"/>
              </a:solidFill>
              <a:latin typeface="+mn-lt"/>
            </a:rPr>
            <a:t>What is a Change?</a:t>
          </a:r>
        </a:p>
      </dgm:t>
    </dgm:pt>
    <dgm:pt modelId="{580EB85B-BE21-499F-8620-329A5BE1FE36}" type="parTrans" cxnId="{0505212D-8F57-4A59-8EE7-616E2F2DDBDE}">
      <dgm:prSet/>
      <dgm:spPr/>
      <dgm:t>
        <a:bodyPr/>
        <a:lstStyle/>
        <a:p>
          <a:endParaRPr lang="en-US"/>
        </a:p>
      </dgm:t>
    </dgm:pt>
    <dgm:pt modelId="{EFAC96BC-768E-4B9E-933C-323040256651}" type="sibTrans" cxnId="{0505212D-8F57-4A59-8EE7-616E2F2DDBDE}">
      <dgm:prSet/>
      <dgm:spPr/>
      <dgm:t>
        <a:bodyPr/>
        <a:lstStyle/>
        <a:p>
          <a:endParaRPr lang="en-US"/>
        </a:p>
      </dgm:t>
    </dgm:pt>
    <dgm:pt modelId="{0D46FCAB-96DC-49E5-A182-81B356B70F42}">
      <dgm:prSet phldrT="[Text]" custT="1"/>
      <dgm:spPr/>
      <dgm:t>
        <a:bodyPr/>
        <a:lstStyle/>
        <a:p>
          <a:r>
            <a:rPr lang="en-US" sz="2400" dirty="0">
              <a:solidFill>
                <a:schemeClr val="bg1"/>
              </a:solidFill>
              <a:latin typeface="+mn-lt"/>
            </a:rPr>
            <a:t>What is Change Management?</a:t>
          </a:r>
        </a:p>
      </dgm:t>
    </dgm:pt>
    <dgm:pt modelId="{5FB80731-EC7D-4719-9F50-7BE2FF5B6592}" type="parTrans" cxnId="{F5973B62-8B92-4B57-9EF5-0CBCBCAC6E2D}">
      <dgm:prSet/>
      <dgm:spPr/>
      <dgm:t>
        <a:bodyPr/>
        <a:lstStyle/>
        <a:p>
          <a:endParaRPr lang="en-US"/>
        </a:p>
      </dgm:t>
    </dgm:pt>
    <dgm:pt modelId="{83F40C97-75BA-46BF-B13C-27C20925F2B5}" type="sibTrans" cxnId="{F5973B62-8B92-4B57-9EF5-0CBCBCAC6E2D}">
      <dgm:prSet/>
      <dgm:spPr/>
      <dgm:t>
        <a:bodyPr/>
        <a:lstStyle/>
        <a:p>
          <a:endParaRPr lang="en-US"/>
        </a:p>
      </dgm:t>
    </dgm:pt>
    <dgm:pt modelId="{D782D17A-9AD0-4356-8201-ACC0723514B5}">
      <dgm:prSet phldrT="[Text]" custT="1"/>
      <dgm:spPr/>
      <dgm:t>
        <a:bodyPr/>
        <a:lstStyle/>
        <a:p>
          <a:r>
            <a:rPr lang="en-US" sz="2400" dirty="0">
              <a:solidFill>
                <a:schemeClr val="bg1"/>
              </a:solidFill>
              <a:latin typeface="+mn-lt"/>
            </a:rPr>
            <a:t>Process Overview</a:t>
          </a:r>
        </a:p>
      </dgm:t>
    </dgm:pt>
    <dgm:pt modelId="{47CCB894-E93F-4A3A-9021-094A1499E423}" type="parTrans" cxnId="{E266C628-74C6-4010-B37C-E6D1272DE235}">
      <dgm:prSet/>
      <dgm:spPr/>
      <dgm:t>
        <a:bodyPr/>
        <a:lstStyle/>
        <a:p>
          <a:endParaRPr lang="en-US"/>
        </a:p>
      </dgm:t>
    </dgm:pt>
    <dgm:pt modelId="{DADDFF8D-A70D-490F-8FB9-F63F68B7908F}" type="sibTrans" cxnId="{E266C628-74C6-4010-B37C-E6D1272DE235}">
      <dgm:prSet/>
      <dgm:spPr/>
      <dgm:t>
        <a:bodyPr/>
        <a:lstStyle/>
        <a:p>
          <a:endParaRPr lang="en-US"/>
        </a:p>
      </dgm:t>
    </dgm:pt>
    <dgm:pt modelId="{35E12F57-CE58-4F7E-8A77-A9A6DBB44FA0}">
      <dgm:prSet phldrT="[Text]" custT="1"/>
      <dgm:spPr/>
      <dgm:t>
        <a:bodyPr/>
        <a:lstStyle/>
        <a:p>
          <a:r>
            <a:rPr lang="en-US" sz="2400" dirty="0">
              <a:solidFill>
                <a:schemeClr val="bg1"/>
              </a:solidFill>
              <a:latin typeface="+mn-lt"/>
            </a:rPr>
            <a:t>What is a Change Freeze?</a:t>
          </a:r>
        </a:p>
      </dgm:t>
    </dgm:pt>
    <dgm:pt modelId="{0AF3E95C-090B-4669-9228-AE668C5086FA}" type="parTrans" cxnId="{187407D6-2611-4A83-92B6-8C2D08094183}">
      <dgm:prSet/>
      <dgm:spPr/>
      <dgm:t>
        <a:bodyPr/>
        <a:lstStyle/>
        <a:p>
          <a:endParaRPr lang="en-US"/>
        </a:p>
      </dgm:t>
    </dgm:pt>
    <dgm:pt modelId="{6E2143BA-0851-43D0-A994-6F7858B085BF}" type="sibTrans" cxnId="{187407D6-2611-4A83-92B6-8C2D08094183}">
      <dgm:prSet/>
      <dgm:spPr/>
      <dgm:t>
        <a:bodyPr/>
        <a:lstStyle/>
        <a:p>
          <a:endParaRPr lang="en-US"/>
        </a:p>
      </dgm:t>
    </dgm:pt>
    <dgm:pt modelId="{8457E020-770A-483D-8193-74B7C5D943F6}">
      <dgm:prSet phldrT="[Text]" custT="1"/>
      <dgm:spPr/>
      <dgm:t>
        <a:bodyPr/>
        <a:lstStyle/>
        <a:p>
          <a:r>
            <a:rPr lang="en-US" sz="2400" dirty="0">
              <a:solidFill>
                <a:schemeClr val="bg1"/>
              </a:solidFill>
              <a:latin typeface="+mn-lt"/>
            </a:rPr>
            <a:t>Questions?</a:t>
          </a:r>
        </a:p>
      </dgm:t>
    </dgm:pt>
    <dgm:pt modelId="{08AC6111-655C-4464-AB31-64CBC3F95C1B}" type="parTrans" cxnId="{D50931D0-9533-46DE-B370-7462F7D6E21B}">
      <dgm:prSet/>
      <dgm:spPr/>
      <dgm:t>
        <a:bodyPr/>
        <a:lstStyle/>
        <a:p>
          <a:endParaRPr lang="en-US"/>
        </a:p>
      </dgm:t>
    </dgm:pt>
    <dgm:pt modelId="{838EEFFB-9B6E-4276-A725-A85CD0C89A1D}" type="sibTrans" cxnId="{D50931D0-9533-46DE-B370-7462F7D6E21B}">
      <dgm:prSet/>
      <dgm:spPr/>
      <dgm:t>
        <a:bodyPr/>
        <a:lstStyle/>
        <a:p>
          <a:endParaRPr lang="en-US"/>
        </a:p>
      </dgm:t>
    </dgm:pt>
    <dgm:pt modelId="{40F1AA63-8038-114C-92D3-9B8A789BFC33}">
      <dgm:prSet custT="1"/>
      <dgm:spPr/>
      <dgm:t>
        <a:bodyPr/>
        <a:lstStyle/>
        <a:p>
          <a:r>
            <a:rPr lang="en-US" sz="2400" dirty="0">
              <a:solidFill>
                <a:schemeClr val="bg1"/>
              </a:solidFill>
              <a:latin typeface="+mn-lt"/>
            </a:rPr>
            <a:t>Benefits of Change Management</a:t>
          </a:r>
        </a:p>
      </dgm:t>
    </dgm:pt>
    <dgm:pt modelId="{0691A293-BCA2-8941-864C-F676730C5F1E}" type="parTrans" cxnId="{C70EA50B-8CA8-694F-B069-1EA7EEBE9F36}">
      <dgm:prSet/>
      <dgm:spPr/>
      <dgm:t>
        <a:bodyPr/>
        <a:lstStyle/>
        <a:p>
          <a:endParaRPr lang="en-US"/>
        </a:p>
      </dgm:t>
    </dgm:pt>
    <dgm:pt modelId="{C3D33DFA-CF1B-ED46-ADFD-C1B8355F3C1D}" type="sibTrans" cxnId="{C70EA50B-8CA8-694F-B069-1EA7EEBE9F36}">
      <dgm:prSet/>
      <dgm:spPr/>
      <dgm:t>
        <a:bodyPr/>
        <a:lstStyle/>
        <a:p>
          <a:endParaRPr lang="en-US"/>
        </a:p>
      </dgm:t>
    </dgm:pt>
    <dgm:pt modelId="{8A969B67-F4E1-41A2-BC39-C90D66ABDAB7}" type="pres">
      <dgm:prSet presAssocID="{4DA1978A-90DA-4D85-AA46-49A49DB7CD55}" presName="Name0" presStyleCnt="0">
        <dgm:presLayoutVars>
          <dgm:chMax val="7"/>
          <dgm:chPref val="7"/>
          <dgm:dir/>
        </dgm:presLayoutVars>
      </dgm:prSet>
      <dgm:spPr/>
    </dgm:pt>
    <dgm:pt modelId="{6D919847-B0A5-4975-88D5-9CF42522B9FC}" type="pres">
      <dgm:prSet presAssocID="{4DA1978A-90DA-4D85-AA46-49A49DB7CD55}" presName="Name1" presStyleCnt="0"/>
      <dgm:spPr/>
    </dgm:pt>
    <dgm:pt modelId="{7686061A-6B42-4F31-BA37-2B8BED2B29BA}" type="pres">
      <dgm:prSet presAssocID="{4DA1978A-90DA-4D85-AA46-49A49DB7CD55}" presName="cycle" presStyleCnt="0"/>
      <dgm:spPr/>
    </dgm:pt>
    <dgm:pt modelId="{43DBF84B-221F-4870-A57D-F4C3586C2D61}" type="pres">
      <dgm:prSet presAssocID="{4DA1978A-90DA-4D85-AA46-49A49DB7CD55}" presName="srcNode" presStyleLbl="node1" presStyleIdx="0" presStyleCnt="6"/>
      <dgm:spPr/>
    </dgm:pt>
    <dgm:pt modelId="{57EA769E-69FF-4A5A-AE71-A561FC3740C8}" type="pres">
      <dgm:prSet presAssocID="{4DA1978A-90DA-4D85-AA46-49A49DB7CD55}" presName="conn" presStyleLbl="parChTrans1D2" presStyleIdx="0" presStyleCnt="1"/>
      <dgm:spPr/>
    </dgm:pt>
    <dgm:pt modelId="{0C98F0DE-939F-4A98-8851-D05EE9586CF5}" type="pres">
      <dgm:prSet presAssocID="{4DA1978A-90DA-4D85-AA46-49A49DB7CD55}" presName="extraNode" presStyleLbl="node1" presStyleIdx="0" presStyleCnt="6"/>
      <dgm:spPr/>
    </dgm:pt>
    <dgm:pt modelId="{B49A38AC-5083-481B-8108-C4DA52A4463B}" type="pres">
      <dgm:prSet presAssocID="{4DA1978A-90DA-4D85-AA46-49A49DB7CD55}" presName="dstNode" presStyleLbl="node1" presStyleIdx="0" presStyleCnt="6"/>
      <dgm:spPr/>
    </dgm:pt>
    <dgm:pt modelId="{1356C0A3-D212-684C-9155-07F35ECEB5A2}" type="pres">
      <dgm:prSet presAssocID="{40F1AA63-8038-114C-92D3-9B8A789BFC33}" presName="text_1" presStyleLbl="node1" presStyleIdx="0" presStyleCnt="6">
        <dgm:presLayoutVars>
          <dgm:bulletEnabled val="1"/>
        </dgm:presLayoutVars>
      </dgm:prSet>
      <dgm:spPr/>
    </dgm:pt>
    <dgm:pt modelId="{9739AA07-B6B9-7A47-8A6E-C7ABA20B2AB5}" type="pres">
      <dgm:prSet presAssocID="{40F1AA63-8038-114C-92D3-9B8A789BFC33}" presName="accent_1" presStyleCnt="0"/>
      <dgm:spPr/>
    </dgm:pt>
    <dgm:pt modelId="{58C82E76-2691-3040-8CA3-1079A8C614E7}" type="pres">
      <dgm:prSet presAssocID="{40F1AA63-8038-114C-92D3-9B8A789BFC33}" presName="accentRepeatNode" presStyleLbl="solidFgAcc1" presStyleIdx="0" presStyleCnt="6"/>
      <dgm:spPr/>
    </dgm:pt>
    <dgm:pt modelId="{3C0B8497-61EE-C144-99DE-87ACF1DD33A1}" type="pres">
      <dgm:prSet presAssocID="{06175308-9AC9-4AED-B3C5-9244C112974B}" presName="text_2" presStyleLbl="node1" presStyleIdx="1" presStyleCnt="6">
        <dgm:presLayoutVars>
          <dgm:bulletEnabled val="1"/>
        </dgm:presLayoutVars>
      </dgm:prSet>
      <dgm:spPr/>
    </dgm:pt>
    <dgm:pt modelId="{93E3A184-7BDA-254C-B6E9-580B380F9C8C}" type="pres">
      <dgm:prSet presAssocID="{06175308-9AC9-4AED-B3C5-9244C112974B}" presName="accent_2" presStyleCnt="0"/>
      <dgm:spPr/>
    </dgm:pt>
    <dgm:pt modelId="{0C06D8CC-3302-4FFA-9951-B2ADEE7BFBA2}" type="pres">
      <dgm:prSet presAssocID="{06175308-9AC9-4AED-B3C5-9244C112974B}" presName="accentRepeatNode" presStyleLbl="solidFgAcc1" presStyleIdx="1" presStyleCnt="6"/>
      <dgm:spPr/>
    </dgm:pt>
    <dgm:pt modelId="{3C351B6E-9C19-9A4A-B153-45E541F19778}" type="pres">
      <dgm:prSet presAssocID="{0D46FCAB-96DC-49E5-A182-81B356B70F42}" presName="text_3" presStyleLbl="node1" presStyleIdx="2" presStyleCnt="6">
        <dgm:presLayoutVars>
          <dgm:bulletEnabled val="1"/>
        </dgm:presLayoutVars>
      </dgm:prSet>
      <dgm:spPr/>
    </dgm:pt>
    <dgm:pt modelId="{24D76391-EC8A-3D4E-A3F4-ED228E9E7BFB}" type="pres">
      <dgm:prSet presAssocID="{0D46FCAB-96DC-49E5-A182-81B356B70F42}" presName="accent_3" presStyleCnt="0"/>
      <dgm:spPr/>
    </dgm:pt>
    <dgm:pt modelId="{AF8F3925-D24C-43A6-AE99-B728C956E8AA}" type="pres">
      <dgm:prSet presAssocID="{0D46FCAB-96DC-49E5-A182-81B356B70F42}" presName="accentRepeatNode" presStyleLbl="solidFgAcc1" presStyleIdx="2" presStyleCnt="6"/>
      <dgm:spPr/>
    </dgm:pt>
    <dgm:pt modelId="{C760BCAC-52AD-40FD-913A-D1B6C5B378BD}" type="pres">
      <dgm:prSet presAssocID="{D782D17A-9AD0-4356-8201-ACC0723514B5}" presName="text_4" presStyleLbl="node1" presStyleIdx="3" presStyleCnt="6">
        <dgm:presLayoutVars>
          <dgm:bulletEnabled val="1"/>
        </dgm:presLayoutVars>
      </dgm:prSet>
      <dgm:spPr/>
    </dgm:pt>
    <dgm:pt modelId="{FD205939-C845-49B5-84AE-46CEC2B12D12}" type="pres">
      <dgm:prSet presAssocID="{D782D17A-9AD0-4356-8201-ACC0723514B5}" presName="accent_4" presStyleCnt="0"/>
      <dgm:spPr/>
    </dgm:pt>
    <dgm:pt modelId="{E9EC15FF-C920-4AB9-B351-227011D9F38C}" type="pres">
      <dgm:prSet presAssocID="{D782D17A-9AD0-4356-8201-ACC0723514B5}" presName="accentRepeatNode" presStyleLbl="solidFgAcc1" presStyleIdx="3" presStyleCnt="6"/>
      <dgm:spPr/>
    </dgm:pt>
    <dgm:pt modelId="{A925AFBB-83CC-4A90-8BBE-7070218D6B09}" type="pres">
      <dgm:prSet presAssocID="{35E12F57-CE58-4F7E-8A77-A9A6DBB44FA0}" presName="text_5" presStyleLbl="node1" presStyleIdx="4" presStyleCnt="6">
        <dgm:presLayoutVars>
          <dgm:bulletEnabled val="1"/>
        </dgm:presLayoutVars>
      </dgm:prSet>
      <dgm:spPr/>
    </dgm:pt>
    <dgm:pt modelId="{AA350CE6-B892-4370-9163-CE364C74FBBE}" type="pres">
      <dgm:prSet presAssocID="{35E12F57-CE58-4F7E-8A77-A9A6DBB44FA0}" presName="accent_5" presStyleCnt="0"/>
      <dgm:spPr/>
    </dgm:pt>
    <dgm:pt modelId="{0E63C1DF-E44B-49B5-8967-E9D1C32E9EC3}" type="pres">
      <dgm:prSet presAssocID="{35E12F57-CE58-4F7E-8A77-A9A6DBB44FA0}" presName="accentRepeatNode" presStyleLbl="solidFgAcc1" presStyleIdx="4" presStyleCnt="6"/>
      <dgm:spPr/>
    </dgm:pt>
    <dgm:pt modelId="{641DAC72-7C32-414D-8D29-CE433C832E9F}" type="pres">
      <dgm:prSet presAssocID="{8457E020-770A-483D-8193-74B7C5D943F6}" presName="text_6" presStyleLbl="node1" presStyleIdx="5" presStyleCnt="6">
        <dgm:presLayoutVars>
          <dgm:bulletEnabled val="1"/>
        </dgm:presLayoutVars>
      </dgm:prSet>
      <dgm:spPr/>
    </dgm:pt>
    <dgm:pt modelId="{FB9D3A99-D907-451B-B7AC-1F0F7F11A1F4}" type="pres">
      <dgm:prSet presAssocID="{8457E020-770A-483D-8193-74B7C5D943F6}" presName="accent_6" presStyleCnt="0"/>
      <dgm:spPr/>
    </dgm:pt>
    <dgm:pt modelId="{68EAA167-34AA-4E57-AB85-A080095FC5E1}" type="pres">
      <dgm:prSet presAssocID="{8457E020-770A-483D-8193-74B7C5D943F6}" presName="accentRepeatNode" presStyleLbl="solidFgAcc1" presStyleIdx="5" presStyleCnt="6"/>
      <dgm:spPr/>
    </dgm:pt>
  </dgm:ptLst>
  <dgm:cxnLst>
    <dgm:cxn modelId="{C70EA50B-8CA8-694F-B069-1EA7EEBE9F36}" srcId="{4DA1978A-90DA-4D85-AA46-49A49DB7CD55}" destId="{40F1AA63-8038-114C-92D3-9B8A789BFC33}" srcOrd="0" destOrd="0" parTransId="{0691A293-BCA2-8941-864C-F676730C5F1E}" sibTransId="{C3D33DFA-CF1B-ED46-ADFD-C1B8355F3C1D}"/>
    <dgm:cxn modelId="{E266C628-74C6-4010-B37C-E6D1272DE235}" srcId="{4DA1978A-90DA-4D85-AA46-49A49DB7CD55}" destId="{D782D17A-9AD0-4356-8201-ACC0723514B5}" srcOrd="3" destOrd="0" parTransId="{47CCB894-E93F-4A3A-9021-094A1499E423}" sibTransId="{DADDFF8D-A70D-490F-8FB9-F63F68B7908F}"/>
    <dgm:cxn modelId="{0505212D-8F57-4A59-8EE7-616E2F2DDBDE}" srcId="{4DA1978A-90DA-4D85-AA46-49A49DB7CD55}" destId="{06175308-9AC9-4AED-B3C5-9244C112974B}" srcOrd="1" destOrd="0" parTransId="{580EB85B-BE21-499F-8620-329A5BE1FE36}" sibTransId="{EFAC96BC-768E-4B9E-933C-323040256651}"/>
    <dgm:cxn modelId="{F5973B62-8B92-4B57-9EF5-0CBCBCAC6E2D}" srcId="{4DA1978A-90DA-4D85-AA46-49A49DB7CD55}" destId="{0D46FCAB-96DC-49E5-A182-81B356B70F42}" srcOrd="2" destOrd="0" parTransId="{5FB80731-EC7D-4719-9F50-7BE2FF5B6592}" sibTransId="{83F40C97-75BA-46BF-B13C-27C20925F2B5}"/>
    <dgm:cxn modelId="{01B2D746-5AAC-9949-B2F9-C5D2042A6CBA}" type="presOf" srcId="{8457E020-770A-483D-8193-74B7C5D943F6}" destId="{641DAC72-7C32-414D-8D29-CE433C832E9F}" srcOrd="0" destOrd="0" presId="urn:microsoft.com/office/officeart/2008/layout/VerticalCurvedList"/>
    <dgm:cxn modelId="{016B914C-3F58-8442-80A4-C249E4E82926}" type="presOf" srcId="{D782D17A-9AD0-4356-8201-ACC0723514B5}" destId="{C760BCAC-52AD-40FD-913A-D1B6C5B378BD}" srcOrd="0" destOrd="0" presId="urn:microsoft.com/office/officeart/2008/layout/VerticalCurvedList"/>
    <dgm:cxn modelId="{82B17D78-83AD-4FFB-8B1F-0D0717527C70}" type="presOf" srcId="{4DA1978A-90DA-4D85-AA46-49A49DB7CD55}" destId="{8A969B67-F4E1-41A2-BC39-C90D66ABDAB7}" srcOrd="0" destOrd="0" presId="urn:microsoft.com/office/officeart/2008/layout/VerticalCurvedList"/>
    <dgm:cxn modelId="{5EEF1B8F-08F8-5B4B-A2E3-A45BD9C402A9}" type="presOf" srcId="{0D46FCAB-96DC-49E5-A182-81B356B70F42}" destId="{3C351B6E-9C19-9A4A-B153-45E541F19778}" srcOrd="0" destOrd="0" presId="urn:microsoft.com/office/officeart/2008/layout/VerticalCurvedList"/>
    <dgm:cxn modelId="{3827ADA7-3AEC-254E-8680-CBC7F70B6BA8}" type="presOf" srcId="{C3D33DFA-CF1B-ED46-ADFD-C1B8355F3C1D}" destId="{57EA769E-69FF-4A5A-AE71-A561FC3740C8}" srcOrd="0" destOrd="0" presId="urn:microsoft.com/office/officeart/2008/layout/VerticalCurvedList"/>
    <dgm:cxn modelId="{B5D99DB2-76A2-5140-A77E-4C7DB0D74EAF}" type="presOf" srcId="{35E12F57-CE58-4F7E-8A77-A9A6DBB44FA0}" destId="{A925AFBB-83CC-4A90-8BBE-7070218D6B09}" srcOrd="0" destOrd="0" presId="urn:microsoft.com/office/officeart/2008/layout/VerticalCurvedList"/>
    <dgm:cxn modelId="{D50931D0-9533-46DE-B370-7462F7D6E21B}" srcId="{4DA1978A-90DA-4D85-AA46-49A49DB7CD55}" destId="{8457E020-770A-483D-8193-74B7C5D943F6}" srcOrd="5" destOrd="0" parTransId="{08AC6111-655C-4464-AB31-64CBC3F95C1B}" sibTransId="{838EEFFB-9B6E-4276-A725-A85CD0C89A1D}"/>
    <dgm:cxn modelId="{BEAD63D1-78FE-E443-A476-4DEC81435C2A}" type="presOf" srcId="{40F1AA63-8038-114C-92D3-9B8A789BFC33}" destId="{1356C0A3-D212-684C-9155-07F35ECEB5A2}" srcOrd="0" destOrd="0" presId="urn:microsoft.com/office/officeart/2008/layout/VerticalCurvedList"/>
    <dgm:cxn modelId="{187407D6-2611-4A83-92B6-8C2D08094183}" srcId="{4DA1978A-90DA-4D85-AA46-49A49DB7CD55}" destId="{35E12F57-CE58-4F7E-8A77-A9A6DBB44FA0}" srcOrd="4" destOrd="0" parTransId="{0AF3E95C-090B-4669-9228-AE668C5086FA}" sibTransId="{6E2143BA-0851-43D0-A994-6F7858B085BF}"/>
    <dgm:cxn modelId="{DF6DF6EA-F652-0548-8F41-D606ED3019BE}" type="presOf" srcId="{06175308-9AC9-4AED-B3C5-9244C112974B}" destId="{3C0B8497-61EE-C144-99DE-87ACF1DD33A1}" srcOrd="0" destOrd="0" presId="urn:microsoft.com/office/officeart/2008/layout/VerticalCurvedList"/>
    <dgm:cxn modelId="{60DCB180-A7E7-6B43-8EDF-09BC1F538368}" type="presParOf" srcId="{8A969B67-F4E1-41A2-BC39-C90D66ABDAB7}" destId="{6D919847-B0A5-4975-88D5-9CF42522B9FC}" srcOrd="0" destOrd="0" presId="urn:microsoft.com/office/officeart/2008/layout/VerticalCurvedList"/>
    <dgm:cxn modelId="{86AD2DDC-8647-EE4D-A2E5-D3B3716A22C4}" type="presParOf" srcId="{6D919847-B0A5-4975-88D5-9CF42522B9FC}" destId="{7686061A-6B42-4F31-BA37-2B8BED2B29BA}" srcOrd="0" destOrd="0" presId="urn:microsoft.com/office/officeart/2008/layout/VerticalCurvedList"/>
    <dgm:cxn modelId="{AF9D83E8-E4F9-8544-890D-EB0583AF5D0E}" type="presParOf" srcId="{7686061A-6B42-4F31-BA37-2B8BED2B29BA}" destId="{43DBF84B-221F-4870-A57D-F4C3586C2D61}" srcOrd="0" destOrd="0" presId="urn:microsoft.com/office/officeart/2008/layout/VerticalCurvedList"/>
    <dgm:cxn modelId="{939A138C-269E-0D4F-9E01-9A07570DB282}" type="presParOf" srcId="{7686061A-6B42-4F31-BA37-2B8BED2B29BA}" destId="{57EA769E-69FF-4A5A-AE71-A561FC3740C8}" srcOrd="1" destOrd="0" presId="urn:microsoft.com/office/officeart/2008/layout/VerticalCurvedList"/>
    <dgm:cxn modelId="{2BC4BF4D-69D5-C645-B64F-E196F8B35A14}" type="presParOf" srcId="{7686061A-6B42-4F31-BA37-2B8BED2B29BA}" destId="{0C98F0DE-939F-4A98-8851-D05EE9586CF5}" srcOrd="2" destOrd="0" presId="urn:microsoft.com/office/officeart/2008/layout/VerticalCurvedList"/>
    <dgm:cxn modelId="{42A045DA-53ED-CD40-8CB6-62D0F3F92604}" type="presParOf" srcId="{7686061A-6B42-4F31-BA37-2B8BED2B29BA}" destId="{B49A38AC-5083-481B-8108-C4DA52A4463B}" srcOrd="3" destOrd="0" presId="urn:microsoft.com/office/officeart/2008/layout/VerticalCurvedList"/>
    <dgm:cxn modelId="{60EC3EE0-B820-F042-84B5-27C2090AB557}" type="presParOf" srcId="{6D919847-B0A5-4975-88D5-9CF42522B9FC}" destId="{1356C0A3-D212-684C-9155-07F35ECEB5A2}" srcOrd="1" destOrd="0" presId="urn:microsoft.com/office/officeart/2008/layout/VerticalCurvedList"/>
    <dgm:cxn modelId="{D169D1D5-6E8E-7F47-B291-10CF7463BAA3}" type="presParOf" srcId="{6D919847-B0A5-4975-88D5-9CF42522B9FC}" destId="{9739AA07-B6B9-7A47-8A6E-C7ABA20B2AB5}" srcOrd="2" destOrd="0" presId="urn:microsoft.com/office/officeart/2008/layout/VerticalCurvedList"/>
    <dgm:cxn modelId="{C3291403-8BDB-FA44-9F68-7E0A75B6342B}" type="presParOf" srcId="{9739AA07-B6B9-7A47-8A6E-C7ABA20B2AB5}" destId="{58C82E76-2691-3040-8CA3-1079A8C614E7}" srcOrd="0" destOrd="0" presId="urn:microsoft.com/office/officeart/2008/layout/VerticalCurvedList"/>
    <dgm:cxn modelId="{CBEBC612-243D-AB4D-BE49-3FBDD1D442BC}" type="presParOf" srcId="{6D919847-B0A5-4975-88D5-9CF42522B9FC}" destId="{3C0B8497-61EE-C144-99DE-87ACF1DD33A1}" srcOrd="3" destOrd="0" presId="urn:microsoft.com/office/officeart/2008/layout/VerticalCurvedList"/>
    <dgm:cxn modelId="{3E83608A-AF8A-5849-BEF1-B0143FAD046E}" type="presParOf" srcId="{6D919847-B0A5-4975-88D5-9CF42522B9FC}" destId="{93E3A184-7BDA-254C-B6E9-580B380F9C8C}" srcOrd="4" destOrd="0" presId="urn:microsoft.com/office/officeart/2008/layout/VerticalCurvedList"/>
    <dgm:cxn modelId="{E1E48BDB-B2B9-8C49-9657-A47B08958758}" type="presParOf" srcId="{93E3A184-7BDA-254C-B6E9-580B380F9C8C}" destId="{0C06D8CC-3302-4FFA-9951-B2ADEE7BFBA2}" srcOrd="0" destOrd="0" presId="urn:microsoft.com/office/officeart/2008/layout/VerticalCurvedList"/>
    <dgm:cxn modelId="{876FFE80-8127-4E42-912B-E7B3CC775E7C}" type="presParOf" srcId="{6D919847-B0A5-4975-88D5-9CF42522B9FC}" destId="{3C351B6E-9C19-9A4A-B153-45E541F19778}" srcOrd="5" destOrd="0" presId="urn:microsoft.com/office/officeart/2008/layout/VerticalCurvedList"/>
    <dgm:cxn modelId="{B1C3141C-E817-BA4A-B96B-B40CF2973C47}" type="presParOf" srcId="{6D919847-B0A5-4975-88D5-9CF42522B9FC}" destId="{24D76391-EC8A-3D4E-A3F4-ED228E9E7BFB}" srcOrd="6" destOrd="0" presId="urn:microsoft.com/office/officeart/2008/layout/VerticalCurvedList"/>
    <dgm:cxn modelId="{B696058E-82A3-624B-8A94-493A9960339D}" type="presParOf" srcId="{24D76391-EC8A-3D4E-A3F4-ED228E9E7BFB}" destId="{AF8F3925-D24C-43A6-AE99-B728C956E8AA}" srcOrd="0" destOrd="0" presId="urn:microsoft.com/office/officeart/2008/layout/VerticalCurvedList"/>
    <dgm:cxn modelId="{7600F394-01A7-8F40-8B06-3B71A16EBD81}" type="presParOf" srcId="{6D919847-B0A5-4975-88D5-9CF42522B9FC}" destId="{C760BCAC-52AD-40FD-913A-D1B6C5B378BD}" srcOrd="7" destOrd="0" presId="urn:microsoft.com/office/officeart/2008/layout/VerticalCurvedList"/>
    <dgm:cxn modelId="{2554D45B-23A3-8948-92D3-2180A549F764}" type="presParOf" srcId="{6D919847-B0A5-4975-88D5-9CF42522B9FC}" destId="{FD205939-C845-49B5-84AE-46CEC2B12D12}" srcOrd="8" destOrd="0" presId="urn:microsoft.com/office/officeart/2008/layout/VerticalCurvedList"/>
    <dgm:cxn modelId="{EFB23200-63CB-B749-8A45-5DF24A276AF8}" type="presParOf" srcId="{FD205939-C845-49B5-84AE-46CEC2B12D12}" destId="{E9EC15FF-C920-4AB9-B351-227011D9F38C}" srcOrd="0" destOrd="0" presId="urn:microsoft.com/office/officeart/2008/layout/VerticalCurvedList"/>
    <dgm:cxn modelId="{018B750D-D8C1-AB4D-BAD4-40A4813872DE}" type="presParOf" srcId="{6D919847-B0A5-4975-88D5-9CF42522B9FC}" destId="{A925AFBB-83CC-4A90-8BBE-7070218D6B09}" srcOrd="9" destOrd="0" presId="urn:microsoft.com/office/officeart/2008/layout/VerticalCurvedList"/>
    <dgm:cxn modelId="{894925F4-26D6-B14F-B1FF-4902C7436E90}" type="presParOf" srcId="{6D919847-B0A5-4975-88D5-9CF42522B9FC}" destId="{AA350CE6-B892-4370-9163-CE364C74FBBE}" srcOrd="10" destOrd="0" presId="urn:microsoft.com/office/officeart/2008/layout/VerticalCurvedList"/>
    <dgm:cxn modelId="{C5861E4C-5627-2842-86FA-A4921963EEE0}" type="presParOf" srcId="{AA350CE6-B892-4370-9163-CE364C74FBBE}" destId="{0E63C1DF-E44B-49B5-8967-E9D1C32E9EC3}" srcOrd="0" destOrd="0" presId="urn:microsoft.com/office/officeart/2008/layout/VerticalCurvedList"/>
    <dgm:cxn modelId="{BAE77D99-7142-4046-80C9-9BE6579C1BB0}" type="presParOf" srcId="{6D919847-B0A5-4975-88D5-9CF42522B9FC}" destId="{641DAC72-7C32-414D-8D29-CE433C832E9F}" srcOrd="11" destOrd="0" presId="urn:microsoft.com/office/officeart/2008/layout/VerticalCurvedList"/>
    <dgm:cxn modelId="{DFE862A8-2D12-614D-A454-1DCDE03E7C4E}" type="presParOf" srcId="{6D919847-B0A5-4975-88D5-9CF42522B9FC}" destId="{FB9D3A99-D907-451B-B7AC-1F0F7F11A1F4}" srcOrd="12" destOrd="0" presId="urn:microsoft.com/office/officeart/2008/layout/VerticalCurvedList"/>
    <dgm:cxn modelId="{CB9B8A27-94F0-694C-A881-8B7D23B3C1A7}" type="presParOf" srcId="{FB9D3A99-D907-451B-B7AC-1F0F7F11A1F4}" destId="{68EAA167-34AA-4E57-AB85-A080095FC5E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85AFCF31-930F-2A46-A86D-CC6672276FD9}" type="doc">
      <dgm:prSet loTypeId="urn:microsoft.com/office/officeart/2005/8/layout/hProcess9" loCatId="" qsTypeId="urn:microsoft.com/office/officeart/2005/8/quickstyle/simple1" qsCatId="simple" csTypeId="urn:microsoft.com/office/officeart/2005/8/colors/colorful2" csCatId="colorful" phldr="1"/>
      <dgm:spPr/>
    </dgm:pt>
    <dgm:pt modelId="{00D9C390-6069-C34E-BD38-4AB2B46FB95B}">
      <dgm:prSet phldrT="[Text]" custT="1"/>
      <dgm:spPr/>
      <dgm:t>
        <a:bodyPr/>
        <a:lstStyle/>
        <a:p>
          <a:r>
            <a:rPr lang="en-US" sz="3200" dirty="0">
              <a:latin typeface="+mn-lt"/>
            </a:rPr>
            <a:t>Complete Template</a:t>
          </a:r>
        </a:p>
      </dgm:t>
    </dgm:pt>
    <dgm:pt modelId="{9B84DAC6-D7E2-EF40-8DD5-018348C8001C}" type="parTrans" cxnId="{CF16EA76-6E75-2046-B193-9DC913F8052C}">
      <dgm:prSet/>
      <dgm:spPr/>
      <dgm:t>
        <a:bodyPr/>
        <a:lstStyle/>
        <a:p>
          <a:endParaRPr lang="en-US"/>
        </a:p>
      </dgm:t>
    </dgm:pt>
    <dgm:pt modelId="{76289C7D-C891-A949-9294-6D0ADAE49DB3}" type="sibTrans" cxnId="{CF16EA76-6E75-2046-B193-9DC913F8052C}">
      <dgm:prSet/>
      <dgm:spPr/>
      <dgm:t>
        <a:bodyPr/>
        <a:lstStyle/>
        <a:p>
          <a:endParaRPr lang="en-US"/>
        </a:p>
      </dgm:t>
    </dgm:pt>
    <dgm:pt modelId="{1D33EF22-B0F9-244D-ABA6-96FED122889B}">
      <dgm:prSet phldrT="[Text]" custT="1"/>
      <dgm:spPr/>
      <dgm:t>
        <a:bodyPr/>
        <a:lstStyle/>
        <a:p>
          <a:r>
            <a:rPr lang="en-US" sz="3200" dirty="0">
              <a:latin typeface="+mn-lt"/>
            </a:rPr>
            <a:t>Implement</a:t>
          </a:r>
        </a:p>
      </dgm:t>
    </dgm:pt>
    <dgm:pt modelId="{15988121-242E-D74D-A87B-BB9DDD2DB4EC}" type="parTrans" cxnId="{A9502716-45E5-F840-A651-2100943544B9}">
      <dgm:prSet/>
      <dgm:spPr/>
      <dgm:t>
        <a:bodyPr/>
        <a:lstStyle/>
        <a:p>
          <a:endParaRPr lang="en-US"/>
        </a:p>
      </dgm:t>
    </dgm:pt>
    <dgm:pt modelId="{D96D2D49-8035-A44D-9F7F-A89BFD5E8A30}" type="sibTrans" cxnId="{A9502716-45E5-F840-A651-2100943544B9}">
      <dgm:prSet/>
      <dgm:spPr/>
      <dgm:t>
        <a:bodyPr/>
        <a:lstStyle/>
        <a:p>
          <a:endParaRPr lang="en-US"/>
        </a:p>
      </dgm:t>
    </dgm:pt>
    <dgm:pt modelId="{A8144DF9-64DC-0648-AAC4-37A1F76FAD1C}" type="pres">
      <dgm:prSet presAssocID="{85AFCF31-930F-2A46-A86D-CC6672276FD9}" presName="CompostProcess" presStyleCnt="0">
        <dgm:presLayoutVars>
          <dgm:dir/>
          <dgm:resizeHandles val="exact"/>
        </dgm:presLayoutVars>
      </dgm:prSet>
      <dgm:spPr/>
    </dgm:pt>
    <dgm:pt modelId="{02E30573-BA16-3543-A94E-1BA3CF810783}" type="pres">
      <dgm:prSet presAssocID="{85AFCF31-930F-2A46-A86D-CC6672276FD9}" presName="arrow" presStyleLbl="bgShp" presStyleIdx="0" presStyleCnt="1"/>
      <dgm:spPr/>
    </dgm:pt>
    <dgm:pt modelId="{0E4F6A35-D590-C642-8737-60714B3DC944}" type="pres">
      <dgm:prSet presAssocID="{85AFCF31-930F-2A46-A86D-CC6672276FD9}" presName="linearProcess" presStyleCnt="0"/>
      <dgm:spPr/>
    </dgm:pt>
    <dgm:pt modelId="{173EEA1C-53C8-CF4E-A54B-50D1DD1F6EF1}" type="pres">
      <dgm:prSet presAssocID="{00D9C390-6069-C34E-BD38-4AB2B46FB95B}" presName="textNode" presStyleLbl="node1" presStyleIdx="0" presStyleCnt="2">
        <dgm:presLayoutVars>
          <dgm:bulletEnabled val="1"/>
        </dgm:presLayoutVars>
      </dgm:prSet>
      <dgm:spPr/>
    </dgm:pt>
    <dgm:pt modelId="{A4C9E85B-1A6A-1C4C-A49A-400F48A580C2}" type="pres">
      <dgm:prSet presAssocID="{76289C7D-C891-A949-9294-6D0ADAE49DB3}" presName="sibTrans" presStyleCnt="0"/>
      <dgm:spPr/>
    </dgm:pt>
    <dgm:pt modelId="{DCBCBF22-213A-AF4F-BCCC-09BD00A0C9AD}" type="pres">
      <dgm:prSet presAssocID="{1D33EF22-B0F9-244D-ABA6-96FED122889B}" presName="textNode" presStyleLbl="node1" presStyleIdx="1" presStyleCnt="2">
        <dgm:presLayoutVars>
          <dgm:bulletEnabled val="1"/>
        </dgm:presLayoutVars>
      </dgm:prSet>
      <dgm:spPr/>
    </dgm:pt>
  </dgm:ptLst>
  <dgm:cxnLst>
    <dgm:cxn modelId="{A9502716-45E5-F840-A651-2100943544B9}" srcId="{85AFCF31-930F-2A46-A86D-CC6672276FD9}" destId="{1D33EF22-B0F9-244D-ABA6-96FED122889B}" srcOrd="1" destOrd="0" parTransId="{15988121-242E-D74D-A87B-BB9DDD2DB4EC}" sibTransId="{D96D2D49-8035-A44D-9F7F-A89BFD5E8A30}"/>
    <dgm:cxn modelId="{CF16EA76-6E75-2046-B193-9DC913F8052C}" srcId="{85AFCF31-930F-2A46-A86D-CC6672276FD9}" destId="{00D9C390-6069-C34E-BD38-4AB2B46FB95B}" srcOrd="0" destOrd="0" parTransId="{9B84DAC6-D7E2-EF40-8DD5-018348C8001C}" sibTransId="{76289C7D-C891-A949-9294-6D0ADAE49DB3}"/>
    <dgm:cxn modelId="{7EB5CCBD-4C45-A449-A1B3-C2AF0B6B2825}" type="presOf" srcId="{1D33EF22-B0F9-244D-ABA6-96FED122889B}" destId="{DCBCBF22-213A-AF4F-BCCC-09BD00A0C9AD}" srcOrd="0" destOrd="0" presId="urn:microsoft.com/office/officeart/2005/8/layout/hProcess9"/>
    <dgm:cxn modelId="{D88D0BD1-A31D-BC44-8A83-117B69C64F9C}" type="presOf" srcId="{00D9C390-6069-C34E-BD38-4AB2B46FB95B}" destId="{173EEA1C-53C8-CF4E-A54B-50D1DD1F6EF1}" srcOrd="0" destOrd="0" presId="urn:microsoft.com/office/officeart/2005/8/layout/hProcess9"/>
    <dgm:cxn modelId="{E2EBE4ED-266E-554A-A466-0998EFC31D5C}" type="presOf" srcId="{85AFCF31-930F-2A46-A86D-CC6672276FD9}" destId="{A8144DF9-64DC-0648-AAC4-37A1F76FAD1C}" srcOrd="0" destOrd="0" presId="urn:microsoft.com/office/officeart/2005/8/layout/hProcess9"/>
    <dgm:cxn modelId="{46B4937F-0C63-044C-92F2-0A168F8C5B16}" type="presParOf" srcId="{A8144DF9-64DC-0648-AAC4-37A1F76FAD1C}" destId="{02E30573-BA16-3543-A94E-1BA3CF810783}" srcOrd="0" destOrd="0" presId="urn:microsoft.com/office/officeart/2005/8/layout/hProcess9"/>
    <dgm:cxn modelId="{7B99EB97-88BA-AF47-BA50-FF9246DF54FF}" type="presParOf" srcId="{A8144DF9-64DC-0648-AAC4-37A1F76FAD1C}" destId="{0E4F6A35-D590-C642-8737-60714B3DC944}" srcOrd="1" destOrd="0" presId="urn:microsoft.com/office/officeart/2005/8/layout/hProcess9"/>
    <dgm:cxn modelId="{99C6DF55-7A87-4F40-83EA-DD24515D5AB0}" type="presParOf" srcId="{0E4F6A35-D590-C642-8737-60714B3DC944}" destId="{173EEA1C-53C8-CF4E-A54B-50D1DD1F6EF1}" srcOrd="0" destOrd="0" presId="urn:microsoft.com/office/officeart/2005/8/layout/hProcess9"/>
    <dgm:cxn modelId="{F83BD958-30D3-234B-B5D6-41C438341BA8}" type="presParOf" srcId="{0E4F6A35-D590-C642-8737-60714B3DC944}" destId="{A4C9E85B-1A6A-1C4C-A49A-400F48A580C2}" srcOrd="1" destOrd="0" presId="urn:microsoft.com/office/officeart/2005/8/layout/hProcess9"/>
    <dgm:cxn modelId="{B71A749F-1957-B046-8498-910BA0A8410A}" type="presParOf" srcId="{0E4F6A35-D590-C642-8737-60714B3DC944}" destId="{DCBCBF22-213A-AF4F-BCCC-09BD00A0C9AD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BB0BD2C5-262B-4D41-AA8C-97091A413735}" type="doc">
      <dgm:prSet loTypeId="urn:microsoft.com/office/officeart/2005/8/layout/lProcess2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2644598-7627-174D-9607-4AF815B5DB5F}">
      <dgm:prSet phldrT="[Text]"/>
      <dgm:spPr/>
      <dgm:t>
        <a:bodyPr/>
        <a:lstStyle/>
        <a:p>
          <a:pPr>
            <a:lnSpc>
              <a:spcPct val="90000"/>
            </a:lnSpc>
          </a:pPr>
          <a:r>
            <a:rPr lang="en-US" dirty="0">
              <a:latin typeface="+mj-lt"/>
            </a:rPr>
            <a:t>Changes of the Day</a:t>
          </a:r>
        </a:p>
        <a:p>
          <a:pPr>
            <a:lnSpc>
              <a:spcPct val="50000"/>
            </a:lnSpc>
          </a:pPr>
          <a:r>
            <a:rPr lang="en-US" dirty="0">
              <a:latin typeface="+mj-lt"/>
            </a:rPr>
            <a:t>(COD)</a:t>
          </a:r>
        </a:p>
      </dgm:t>
    </dgm:pt>
    <dgm:pt modelId="{F447D10B-50C7-C744-80BA-0EA621B9B1BE}" type="parTrans" cxnId="{6EEF713B-7C35-2F46-9268-4E0099DCBB59}">
      <dgm:prSet/>
      <dgm:spPr/>
      <dgm:t>
        <a:bodyPr/>
        <a:lstStyle/>
        <a:p>
          <a:endParaRPr lang="en-US"/>
        </a:p>
      </dgm:t>
    </dgm:pt>
    <dgm:pt modelId="{F0817651-CEDA-6E4C-94CC-751839FEA8B4}" type="sibTrans" cxnId="{6EEF713B-7C35-2F46-9268-4E0099DCBB59}">
      <dgm:prSet/>
      <dgm:spPr/>
      <dgm:t>
        <a:bodyPr/>
        <a:lstStyle/>
        <a:p>
          <a:endParaRPr lang="en-US"/>
        </a:p>
      </dgm:t>
    </dgm:pt>
    <dgm:pt modelId="{E52AF6CE-C3D1-814B-ADFB-657DDBE90B1B}">
      <dgm:prSet phldrT="[Text]"/>
      <dgm:spPr/>
      <dgm:t>
        <a:bodyPr/>
        <a:lstStyle/>
        <a:p>
          <a:r>
            <a:rPr lang="en-US" dirty="0">
              <a:latin typeface="+mj-lt"/>
            </a:rPr>
            <a:t>Daily M-F</a:t>
          </a:r>
        </a:p>
        <a:p>
          <a:r>
            <a:rPr lang="en-US" dirty="0">
              <a:latin typeface="+mj-lt"/>
            </a:rPr>
            <a:t>7:45 AM</a:t>
          </a:r>
        </a:p>
      </dgm:t>
    </dgm:pt>
    <dgm:pt modelId="{477FF4CC-34D4-0B45-9B85-311B9CC2E96F}" type="parTrans" cxnId="{09988000-5E2A-1443-8826-4A97F1146803}">
      <dgm:prSet/>
      <dgm:spPr/>
      <dgm:t>
        <a:bodyPr/>
        <a:lstStyle/>
        <a:p>
          <a:endParaRPr lang="en-US"/>
        </a:p>
      </dgm:t>
    </dgm:pt>
    <dgm:pt modelId="{1F56787D-5AB1-F24B-AD29-820DD0730952}" type="sibTrans" cxnId="{09988000-5E2A-1443-8826-4A97F1146803}">
      <dgm:prSet/>
      <dgm:spPr/>
      <dgm:t>
        <a:bodyPr/>
        <a:lstStyle/>
        <a:p>
          <a:endParaRPr lang="en-US"/>
        </a:p>
      </dgm:t>
    </dgm:pt>
    <dgm:pt modelId="{FCB3E776-9B86-DA4C-AB51-12DD4ABF5A6E}">
      <dgm:prSet phldrT="[Text]"/>
      <dgm:spPr/>
      <dgm:t>
        <a:bodyPr/>
        <a:lstStyle/>
        <a:p>
          <a:r>
            <a:rPr lang="en-US" dirty="0">
              <a:latin typeface="+mj-lt"/>
            </a:rPr>
            <a:t>Last 24 Hours (Major Incidents)</a:t>
          </a:r>
        </a:p>
      </dgm:t>
    </dgm:pt>
    <dgm:pt modelId="{8781AE39-56B9-2E42-8B01-F07AD1B2B4DE}" type="parTrans" cxnId="{B0895EBD-6E30-3442-AE20-E81EBAB24098}">
      <dgm:prSet/>
      <dgm:spPr/>
      <dgm:t>
        <a:bodyPr/>
        <a:lstStyle/>
        <a:p>
          <a:endParaRPr lang="en-US"/>
        </a:p>
      </dgm:t>
    </dgm:pt>
    <dgm:pt modelId="{A595177F-F5BE-4647-8270-0B4B8FA42E17}" type="sibTrans" cxnId="{B0895EBD-6E30-3442-AE20-E81EBAB24098}">
      <dgm:prSet/>
      <dgm:spPr/>
      <dgm:t>
        <a:bodyPr/>
        <a:lstStyle/>
        <a:p>
          <a:endParaRPr lang="en-US"/>
        </a:p>
      </dgm:t>
    </dgm:pt>
    <dgm:pt modelId="{041079E0-7952-1047-8053-3D1A76F23BD1}">
      <dgm:prSet phldrT="[Text]"/>
      <dgm:spPr/>
      <dgm:t>
        <a:bodyPr/>
        <a:lstStyle/>
        <a:p>
          <a:pPr>
            <a:lnSpc>
              <a:spcPct val="50000"/>
            </a:lnSpc>
          </a:pPr>
          <a:r>
            <a:rPr lang="en-US" dirty="0">
              <a:latin typeface="+mj-lt"/>
            </a:rPr>
            <a:t>Change</a:t>
          </a:r>
        </a:p>
        <a:p>
          <a:pPr>
            <a:lnSpc>
              <a:spcPct val="50000"/>
            </a:lnSpc>
          </a:pPr>
          <a:r>
            <a:rPr lang="en-US" dirty="0">
              <a:latin typeface="+mj-lt"/>
            </a:rPr>
            <a:t>Control Board</a:t>
          </a:r>
        </a:p>
        <a:p>
          <a:pPr>
            <a:lnSpc>
              <a:spcPct val="50000"/>
            </a:lnSpc>
          </a:pPr>
          <a:r>
            <a:rPr lang="en-US" dirty="0">
              <a:latin typeface="+mj-lt"/>
            </a:rPr>
            <a:t>(CCB)</a:t>
          </a:r>
        </a:p>
      </dgm:t>
    </dgm:pt>
    <dgm:pt modelId="{5BB26682-1B19-D740-9DC2-D33EF893CCC9}" type="parTrans" cxnId="{7760885D-BE65-ED49-80C0-21822E17EF6C}">
      <dgm:prSet/>
      <dgm:spPr/>
      <dgm:t>
        <a:bodyPr/>
        <a:lstStyle/>
        <a:p>
          <a:endParaRPr lang="en-US"/>
        </a:p>
      </dgm:t>
    </dgm:pt>
    <dgm:pt modelId="{77DABF2A-9932-894B-8F3C-3C49302F4EFC}" type="sibTrans" cxnId="{7760885D-BE65-ED49-80C0-21822E17EF6C}">
      <dgm:prSet/>
      <dgm:spPr/>
      <dgm:t>
        <a:bodyPr/>
        <a:lstStyle/>
        <a:p>
          <a:endParaRPr lang="en-US"/>
        </a:p>
      </dgm:t>
    </dgm:pt>
    <dgm:pt modelId="{835E2BC9-B720-714D-BF98-A7747F6054CF}">
      <dgm:prSet phldrT="[Text]"/>
      <dgm:spPr/>
      <dgm:t>
        <a:bodyPr/>
        <a:lstStyle/>
        <a:p>
          <a:r>
            <a:rPr lang="en-US" dirty="0">
              <a:latin typeface="+mj-lt"/>
            </a:rPr>
            <a:t>Weekly</a:t>
          </a:r>
        </a:p>
        <a:p>
          <a:r>
            <a:rPr lang="en-US" dirty="0">
              <a:latin typeface="+mj-lt"/>
            </a:rPr>
            <a:t>Wed 3:00 PM</a:t>
          </a:r>
        </a:p>
      </dgm:t>
    </dgm:pt>
    <dgm:pt modelId="{F672D8E6-BF6C-F646-AC5F-C760A478B652}" type="parTrans" cxnId="{8DB47942-788F-E440-8076-6C944717CE72}">
      <dgm:prSet/>
      <dgm:spPr/>
      <dgm:t>
        <a:bodyPr/>
        <a:lstStyle/>
        <a:p>
          <a:endParaRPr lang="en-US"/>
        </a:p>
      </dgm:t>
    </dgm:pt>
    <dgm:pt modelId="{3522CA8B-44DA-754D-AEBE-29562E91484E}" type="sibTrans" cxnId="{8DB47942-788F-E440-8076-6C944717CE72}">
      <dgm:prSet/>
      <dgm:spPr/>
      <dgm:t>
        <a:bodyPr/>
        <a:lstStyle/>
        <a:p>
          <a:endParaRPr lang="en-US"/>
        </a:p>
      </dgm:t>
    </dgm:pt>
    <dgm:pt modelId="{2C16494F-5FEB-734D-AD82-1F32DCF6C7DA}">
      <dgm:prSet phldrT="[Text]"/>
      <dgm:spPr/>
      <dgm:t>
        <a:bodyPr/>
        <a:lstStyle/>
        <a:p>
          <a:r>
            <a:rPr lang="en-US" dirty="0">
              <a:latin typeface="Georgia" panose="02040502050405020303" pitchFamily="18" charset="0"/>
            </a:rPr>
            <a:t>Next 7 Days Significant &amp; Major Changes</a:t>
          </a:r>
        </a:p>
      </dgm:t>
    </dgm:pt>
    <dgm:pt modelId="{BCF21AFE-347F-8A46-97CD-3B9D879AA69A}" type="parTrans" cxnId="{801760B2-3DA0-4548-B6DD-8754731906FF}">
      <dgm:prSet/>
      <dgm:spPr/>
      <dgm:t>
        <a:bodyPr/>
        <a:lstStyle/>
        <a:p>
          <a:endParaRPr lang="en-US"/>
        </a:p>
      </dgm:t>
    </dgm:pt>
    <dgm:pt modelId="{C56EE280-5B7D-C24F-A797-5D65A3FA7139}" type="sibTrans" cxnId="{801760B2-3DA0-4548-B6DD-8754731906FF}">
      <dgm:prSet/>
      <dgm:spPr/>
      <dgm:t>
        <a:bodyPr/>
        <a:lstStyle/>
        <a:p>
          <a:endParaRPr lang="en-US"/>
        </a:p>
      </dgm:t>
    </dgm:pt>
    <dgm:pt modelId="{AAFE0621-E06D-0944-8D4B-7B7A381155B5}">
      <dgm:prSet phldrT="[Text]"/>
      <dgm:spPr/>
      <dgm:t>
        <a:bodyPr/>
        <a:lstStyle/>
        <a:p>
          <a:pPr>
            <a:lnSpc>
              <a:spcPct val="50000"/>
            </a:lnSpc>
          </a:pPr>
          <a:r>
            <a:rPr lang="en-US" dirty="0">
              <a:latin typeface="+mj-lt"/>
            </a:rPr>
            <a:t>Change</a:t>
          </a:r>
        </a:p>
        <a:p>
          <a:pPr>
            <a:lnSpc>
              <a:spcPct val="50000"/>
            </a:lnSpc>
          </a:pPr>
          <a:r>
            <a:rPr lang="en-US" dirty="0">
              <a:latin typeface="+mj-lt"/>
            </a:rPr>
            <a:t>Advisory</a:t>
          </a:r>
        </a:p>
        <a:p>
          <a:pPr>
            <a:lnSpc>
              <a:spcPct val="50000"/>
            </a:lnSpc>
          </a:pPr>
          <a:r>
            <a:rPr lang="en-US" dirty="0">
              <a:latin typeface="+mj-lt"/>
            </a:rPr>
            <a:t> Board</a:t>
          </a:r>
        </a:p>
        <a:p>
          <a:pPr>
            <a:lnSpc>
              <a:spcPct val="50000"/>
            </a:lnSpc>
          </a:pPr>
          <a:r>
            <a:rPr lang="en-US" dirty="0">
              <a:latin typeface="+mj-lt"/>
            </a:rPr>
            <a:t>(CAB)</a:t>
          </a:r>
        </a:p>
      </dgm:t>
    </dgm:pt>
    <dgm:pt modelId="{5C1FDEAB-D7AA-AE42-93C3-92237F490D66}" type="parTrans" cxnId="{8FD82DCD-9058-734B-A621-1F5E42DB4836}">
      <dgm:prSet/>
      <dgm:spPr/>
      <dgm:t>
        <a:bodyPr/>
        <a:lstStyle/>
        <a:p>
          <a:endParaRPr lang="en-US"/>
        </a:p>
      </dgm:t>
    </dgm:pt>
    <dgm:pt modelId="{02E28839-4621-9D4C-990E-4C37BDA5B65E}" type="sibTrans" cxnId="{8FD82DCD-9058-734B-A621-1F5E42DB4836}">
      <dgm:prSet/>
      <dgm:spPr/>
      <dgm:t>
        <a:bodyPr/>
        <a:lstStyle/>
        <a:p>
          <a:endParaRPr lang="en-US"/>
        </a:p>
      </dgm:t>
    </dgm:pt>
    <dgm:pt modelId="{274B79CC-54AB-7345-8C9A-43904D91A072}">
      <dgm:prSet phldrT="[Text]"/>
      <dgm:spPr/>
      <dgm:t>
        <a:bodyPr/>
        <a:lstStyle/>
        <a:p>
          <a:r>
            <a:rPr lang="en-US" dirty="0">
              <a:latin typeface="+mj-lt"/>
            </a:rPr>
            <a:t>Monthly with CAB Members Only</a:t>
          </a:r>
        </a:p>
      </dgm:t>
    </dgm:pt>
    <dgm:pt modelId="{25FABD49-AB0B-2242-ADA8-F29F3A056DA9}" type="parTrans" cxnId="{FF05941B-3650-A54F-97B0-566989FD2F47}">
      <dgm:prSet/>
      <dgm:spPr/>
      <dgm:t>
        <a:bodyPr/>
        <a:lstStyle/>
        <a:p>
          <a:endParaRPr lang="en-US"/>
        </a:p>
      </dgm:t>
    </dgm:pt>
    <dgm:pt modelId="{6DC10A4A-6833-0E43-AFF6-8A96058776A1}" type="sibTrans" cxnId="{FF05941B-3650-A54F-97B0-566989FD2F47}">
      <dgm:prSet/>
      <dgm:spPr/>
      <dgm:t>
        <a:bodyPr/>
        <a:lstStyle/>
        <a:p>
          <a:endParaRPr lang="en-US"/>
        </a:p>
      </dgm:t>
    </dgm:pt>
    <dgm:pt modelId="{00171A40-21B3-554B-83A6-8CB40799676B}">
      <dgm:prSet phldrT="[Text]"/>
      <dgm:spPr/>
      <dgm:t>
        <a:bodyPr/>
        <a:lstStyle/>
        <a:p>
          <a:r>
            <a:rPr lang="en-US" dirty="0">
              <a:latin typeface="+mj-lt"/>
            </a:rPr>
            <a:t>Policy &amp; Process Update Discussions</a:t>
          </a:r>
        </a:p>
      </dgm:t>
    </dgm:pt>
    <dgm:pt modelId="{7D164EF3-7EDC-354D-ADCE-AC71A7936564}" type="parTrans" cxnId="{982163F1-D8A6-8E47-A896-E96E0BF4F63F}">
      <dgm:prSet/>
      <dgm:spPr/>
      <dgm:t>
        <a:bodyPr/>
        <a:lstStyle/>
        <a:p>
          <a:endParaRPr lang="en-US"/>
        </a:p>
      </dgm:t>
    </dgm:pt>
    <dgm:pt modelId="{C521A6DA-1AEB-A343-AC6B-39C80FE9BC37}" type="sibTrans" cxnId="{982163F1-D8A6-8E47-A896-E96E0BF4F63F}">
      <dgm:prSet/>
      <dgm:spPr/>
      <dgm:t>
        <a:bodyPr/>
        <a:lstStyle/>
        <a:p>
          <a:endParaRPr lang="en-US"/>
        </a:p>
      </dgm:t>
    </dgm:pt>
    <dgm:pt modelId="{09C2840D-5CB3-D345-93B6-382EACC376FA}">
      <dgm:prSet/>
      <dgm:spPr/>
      <dgm:t>
        <a:bodyPr/>
        <a:lstStyle/>
        <a:p>
          <a:r>
            <a:rPr lang="en-US" dirty="0">
              <a:latin typeface="Georgia" panose="02040502050405020303" pitchFamily="18" charset="0"/>
            </a:rPr>
            <a:t>Next 24 Hours (Significant &amp; Major Changes)</a:t>
          </a:r>
        </a:p>
      </dgm:t>
    </dgm:pt>
    <dgm:pt modelId="{938A4C4F-7A20-924F-BE4D-81985F924198}" type="parTrans" cxnId="{3A7BF004-09D7-D949-84C5-F1BC40C30842}">
      <dgm:prSet/>
      <dgm:spPr/>
      <dgm:t>
        <a:bodyPr/>
        <a:lstStyle/>
        <a:p>
          <a:endParaRPr lang="en-US"/>
        </a:p>
      </dgm:t>
    </dgm:pt>
    <dgm:pt modelId="{3D75D05D-7432-EC41-9390-01D6668BA166}" type="sibTrans" cxnId="{3A7BF004-09D7-D949-84C5-F1BC40C30842}">
      <dgm:prSet/>
      <dgm:spPr/>
      <dgm:t>
        <a:bodyPr/>
        <a:lstStyle/>
        <a:p>
          <a:endParaRPr lang="en-US"/>
        </a:p>
      </dgm:t>
    </dgm:pt>
    <dgm:pt modelId="{191DA4A2-4C9C-F446-B04C-90064DADB6FE}" type="pres">
      <dgm:prSet presAssocID="{BB0BD2C5-262B-4D41-AA8C-97091A413735}" presName="theList" presStyleCnt="0">
        <dgm:presLayoutVars>
          <dgm:dir/>
          <dgm:animLvl val="lvl"/>
          <dgm:resizeHandles val="exact"/>
        </dgm:presLayoutVars>
      </dgm:prSet>
      <dgm:spPr/>
    </dgm:pt>
    <dgm:pt modelId="{18730E9E-8944-A84F-8C1B-A5E98D1CBFB3}" type="pres">
      <dgm:prSet presAssocID="{32644598-7627-174D-9607-4AF815B5DB5F}" presName="compNode" presStyleCnt="0"/>
      <dgm:spPr/>
    </dgm:pt>
    <dgm:pt modelId="{50FBDABD-4CA3-F047-85DA-7929B66B7048}" type="pres">
      <dgm:prSet presAssocID="{32644598-7627-174D-9607-4AF815B5DB5F}" presName="aNode" presStyleLbl="bgShp" presStyleIdx="0" presStyleCnt="3"/>
      <dgm:spPr/>
    </dgm:pt>
    <dgm:pt modelId="{5ACEAB77-2AD5-054A-A033-BE71D0703B08}" type="pres">
      <dgm:prSet presAssocID="{32644598-7627-174D-9607-4AF815B5DB5F}" presName="textNode" presStyleLbl="bgShp" presStyleIdx="0" presStyleCnt="3"/>
      <dgm:spPr/>
    </dgm:pt>
    <dgm:pt modelId="{CE9B78B6-4F75-AE49-81D2-34973FB3B786}" type="pres">
      <dgm:prSet presAssocID="{32644598-7627-174D-9607-4AF815B5DB5F}" presName="compChildNode" presStyleCnt="0"/>
      <dgm:spPr/>
    </dgm:pt>
    <dgm:pt modelId="{8C7DC6A5-BCA6-834C-8266-48C4E41B28DB}" type="pres">
      <dgm:prSet presAssocID="{32644598-7627-174D-9607-4AF815B5DB5F}" presName="theInnerList" presStyleCnt="0"/>
      <dgm:spPr/>
    </dgm:pt>
    <dgm:pt modelId="{CE354BA4-6020-D24F-9821-4E909E50329A}" type="pres">
      <dgm:prSet presAssocID="{E52AF6CE-C3D1-814B-ADFB-657DDBE90B1B}" presName="childNode" presStyleLbl="node1" presStyleIdx="0" presStyleCnt="7">
        <dgm:presLayoutVars>
          <dgm:bulletEnabled val="1"/>
        </dgm:presLayoutVars>
      </dgm:prSet>
      <dgm:spPr/>
    </dgm:pt>
    <dgm:pt modelId="{3673ECF5-6E2B-9447-BA4F-F6FCE0F8BC70}" type="pres">
      <dgm:prSet presAssocID="{E52AF6CE-C3D1-814B-ADFB-657DDBE90B1B}" presName="aSpace2" presStyleCnt="0"/>
      <dgm:spPr/>
    </dgm:pt>
    <dgm:pt modelId="{35BC85DE-DE74-5945-93B9-C225187E5C40}" type="pres">
      <dgm:prSet presAssocID="{FCB3E776-9B86-DA4C-AB51-12DD4ABF5A6E}" presName="childNode" presStyleLbl="node1" presStyleIdx="1" presStyleCnt="7">
        <dgm:presLayoutVars>
          <dgm:bulletEnabled val="1"/>
        </dgm:presLayoutVars>
      </dgm:prSet>
      <dgm:spPr/>
    </dgm:pt>
    <dgm:pt modelId="{6AD133CD-25F6-AA41-B62A-73B50B1ABED6}" type="pres">
      <dgm:prSet presAssocID="{FCB3E776-9B86-DA4C-AB51-12DD4ABF5A6E}" presName="aSpace2" presStyleCnt="0"/>
      <dgm:spPr/>
    </dgm:pt>
    <dgm:pt modelId="{4DDF9B2C-9FE7-EA44-BA19-7CD4680AB339}" type="pres">
      <dgm:prSet presAssocID="{09C2840D-5CB3-D345-93B6-382EACC376FA}" presName="childNode" presStyleLbl="node1" presStyleIdx="2" presStyleCnt="7">
        <dgm:presLayoutVars>
          <dgm:bulletEnabled val="1"/>
        </dgm:presLayoutVars>
      </dgm:prSet>
      <dgm:spPr/>
    </dgm:pt>
    <dgm:pt modelId="{122D840B-B062-8A4F-A6F5-552269276335}" type="pres">
      <dgm:prSet presAssocID="{32644598-7627-174D-9607-4AF815B5DB5F}" presName="aSpace" presStyleCnt="0"/>
      <dgm:spPr/>
    </dgm:pt>
    <dgm:pt modelId="{5F2D4E71-639F-CC4C-9B13-16C3D7E7CA4A}" type="pres">
      <dgm:prSet presAssocID="{041079E0-7952-1047-8053-3D1A76F23BD1}" presName="compNode" presStyleCnt="0"/>
      <dgm:spPr/>
    </dgm:pt>
    <dgm:pt modelId="{67A75D55-F62C-5B44-BF02-8F96A5E30B4D}" type="pres">
      <dgm:prSet presAssocID="{041079E0-7952-1047-8053-3D1A76F23BD1}" presName="aNode" presStyleLbl="bgShp" presStyleIdx="1" presStyleCnt="3"/>
      <dgm:spPr/>
    </dgm:pt>
    <dgm:pt modelId="{B4084B6A-656F-1E45-9005-A59DF445688C}" type="pres">
      <dgm:prSet presAssocID="{041079E0-7952-1047-8053-3D1A76F23BD1}" presName="textNode" presStyleLbl="bgShp" presStyleIdx="1" presStyleCnt="3"/>
      <dgm:spPr/>
    </dgm:pt>
    <dgm:pt modelId="{700FB678-246A-594E-810A-9C4E77978D89}" type="pres">
      <dgm:prSet presAssocID="{041079E0-7952-1047-8053-3D1A76F23BD1}" presName="compChildNode" presStyleCnt="0"/>
      <dgm:spPr/>
    </dgm:pt>
    <dgm:pt modelId="{4B8BF40D-5ABA-064C-87FB-4A97EBCC0276}" type="pres">
      <dgm:prSet presAssocID="{041079E0-7952-1047-8053-3D1A76F23BD1}" presName="theInnerList" presStyleCnt="0"/>
      <dgm:spPr/>
    </dgm:pt>
    <dgm:pt modelId="{1DBB65EB-9652-4646-97A8-2E069BE478F0}" type="pres">
      <dgm:prSet presAssocID="{835E2BC9-B720-714D-BF98-A7747F6054CF}" presName="childNode" presStyleLbl="node1" presStyleIdx="3" presStyleCnt="7">
        <dgm:presLayoutVars>
          <dgm:bulletEnabled val="1"/>
        </dgm:presLayoutVars>
      </dgm:prSet>
      <dgm:spPr/>
    </dgm:pt>
    <dgm:pt modelId="{5453751A-5D9D-4E6A-A3F1-7C784A168451}" type="pres">
      <dgm:prSet presAssocID="{835E2BC9-B720-714D-BF98-A7747F6054CF}" presName="aSpace2" presStyleCnt="0"/>
      <dgm:spPr/>
    </dgm:pt>
    <dgm:pt modelId="{E5503698-02DF-4B3E-A893-7B1230F9122C}" type="pres">
      <dgm:prSet presAssocID="{2C16494F-5FEB-734D-AD82-1F32DCF6C7DA}" presName="childNode" presStyleLbl="node1" presStyleIdx="4" presStyleCnt="7">
        <dgm:presLayoutVars>
          <dgm:bulletEnabled val="1"/>
        </dgm:presLayoutVars>
      </dgm:prSet>
      <dgm:spPr/>
    </dgm:pt>
    <dgm:pt modelId="{A0107E9F-31AC-6C42-A29E-EEDEE839A54C}" type="pres">
      <dgm:prSet presAssocID="{041079E0-7952-1047-8053-3D1A76F23BD1}" presName="aSpace" presStyleCnt="0"/>
      <dgm:spPr/>
    </dgm:pt>
    <dgm:pt modelId="{BEBFB730-9529-7F46-AFE2-75D09639ED61}" type="pres">
      <dgm:prSet presAssocID="{AAFE0621-E06D-0944-8D4B-7B7A381155B5}" presName="compNode" presStyleCnt="0"/>
      <dgm:spPr/>
    </dgm:pt>
    <dgm:pt modelId="{FC15546F-4354-D54A-B7DB-992FE21A48A1}" type="pres">
      <dgm:prSet presAssocID="{AAFE0621-E06D-0944-8D4B-7B7A381155B5}" presName="aNode" presStyleLbl="bgShp" presStyleIdx="2" presStyleCnt="3"/>
      <dgm:spPr/>
    </dgm:pt>
    <dgm:pt modelId="{EE48B8E7-73E2-1C46-BC9C-02EE27F41EF2}" type="pres">
      <dgm:prSet presAssocID="{AAFE0621-E06D-0944-8D4B-7B7A381155B5}" presName="textNode" presStyleLbl="bgShp" presStyleIdx="2" presStyleCnt="3"/>
      <dgm:spPr/>
    </dgm:pt>
    <dgm:pt modelId="{BAB9E112-CBFA-BD41-9863-D75E84AB4785}" type="pres">
      <dgm:prSet presAssocID="{AAFE0621-E06D-0944-8D4B-7B7A381155B5}" presName="compChildNode" presStyleCnt="0"/>
      <dgm:spPr/>
    </dgm:pt>
    <dgm:pt modelId="{855E3C26-0D55-FD45-B561-6F10198728B6}" type="pres">
      <dgm:prSet presAssocID="{AAFE0621-E06D-0944-8D4B-7B7A381155B5}" presName="theInnerList" presStyleCnt="0"/>
      <dgm:spPr/>
    </dgm:pt>
    <dgm:pt modelId="{88ADF287-9D92-4837-B86E-ED1AADB112C2}" type="pres">
      <dgm:prSet presAssocID="{274B79CC-54AB-7345-8C9A-43904D91A072}" presName="childNode" presStyleLbl="node1" presStyleIdx="5" presStyleCnt="7">
        <dgm:presLayoutVars>
          <dgm:bulletEnabled val="1"/>
        </dgm:presLayoutVars>
      </dgm:prSet>
      <dgm:spPr/>
    </dgm:pt>
    <dgm:pt modelId="{B66F7CE1-9497-4AA7-B5DE-1E37A728EE22}" type="pres">
      <dgm:prSet presAssocID="{274B79CC-54AB-7345-8C9A-43904D91A072}" presName="aSpace2" presStyleCnt="0"/>
      <dgm:spPr/>
    </dgm:pt>
    <dgm:pt modelId="{38EC4E77-1819-4F37-8095-7D34998EB735}" type="pres">
      <dgm:prSet presAssocID="{00171A40-21B3-554B-83A6-8CB40799676B}" presName="childNode" presStyleLbl="node1" presStyleIdx="6" presStyleCnt="7">
        <dgm:presLayoutVars>
          <dgm:bulletEnabled val="1"/>
        </dgm:presLayoutVars>
      </dgm:prSet>
      <dgm:spPr/>
    </dgm:pt>
  </dgm:ptLst>
  <dgm:cxnLst>
    <dgm:cxn modelId="{09988000-5E2A-1443-8826-4A97F1146803}" srcId="{32644598-7627-174D-9607-4AF815B5DB5F}" destId="{E52AF6CE-C3D1-814B-ADFB-657DDBE90B1B}" srcOrd="0" destOrd="0" parTransId="{477FF4CC-34D4-0B45-9B85-311B9CC2E96F}" sibTransId="{1F56787D-5AB1-F24B-AD29-820DD0730952}"/>
    <dgm:cxn modelId="{3A7BF004-09D7-D949-84C5-F1BC40C30842}" srcId="{32644598-7627-174D-9607-4AF815B5DB5F}" destId="{09C2840D-5CB3-D345-93B6-382EACC376FA}" srcOrd="2" destOrd="0" parTransId="{938A4C4F-7A20-924F-BE4D-81985F924198}" sibTransId="{3D75D05D-7432-EC41-9390-01D6668BA166}"/>
    <dgm:cxn modelId="{400A6205-81F8-C74C-A239-C7A18361C79A}" type="presOf" srcId="{32644598-7627-174D-9607-4AF815B5DB5F}" destId="{50FBDABD-4CA3-F047-85DA-7929B66B7048}" srcOrd="0" destOrd="0" presId="urn:microsoft.com/office/officeart/2005/8/layout/lProcess2"/>
    <dgm:cxn modelId="{FF05941B-3650-A54F-97B0-566989FD2F47}" srcId="{AAFE0621-E06D-0944-8D4B-7B7A381155B5}" destId="{274B79CC-54AB-7345-8C9A-43904D91A072}" srcOrd="0" destOrd="0" parTransId="{25FABD49-AB0B-2242-ADA8-F29F3A056DA9}" sibTransId="{6DC10A4A-6833-0E43-AFF6-8A96058776A1}"/>
    <dgm:cxn modelId="{E783AC2B-6879-B544-9E39-0589C71AAE4F}" type="presOf" srcId="{09C2840D-5CB3-D345-93B6-382EACC376FA}" destId="{4DDF9B2C-9FE7-EA44-BA19-7CD4680AB339}" srcOrd="0" destOrd="0" presId="urn:microsoft.com/office/officeart/2005/8/layout/lProcess2"/>
    <dgm:cxn modelId="{B3F75E33-A9C7-E445-9461-471ADE6AC852}" type="presOf" srcId="{041079E0-7952-1047-8053-3D1A76F23BD1}" destId="{67A75D55-F62C-5B44-BF02-8F96A5E30B4D}" srcOrd="0" destOrd="0" presId="urn:microsoft.com/office/officeart/2005/8/layout/lProcess2"/>
    <dgm:cxn modelId="{6EEF713B-7C35-2F46-9268-4E0099DCBB59}" srcId="{BB0BD2C5-262B-4D41-AA8C-97091A413735}" destId="{32644598-7627-174D-9607-4AF815B5DB5F}" srcOrd="0" destOrd="0" parTransId="{F447D10B-50C7-C744-80BA-0EA621B9B1BE}" sibTransId="{F0817651-CEDA-6E4C-94CC-751839FEA8B4}"/>
    <dgm:cxn modelId="{7760885D-BE65-ED49-80C0-21822E17EF6C}" srcId="{BB0BD2C5-262B-4D41-AA8C-97091A413735}" destId="{041079E0-7952-1047-8053-3D1A76F23BD1}" srcOrd="1" destOrd="0" parTransId="{5BB26682-1B19-D740-9DC2-D33EF893CCC9}" sibTransId="{77DABF2A-9932-894B-8F3C-3C49302F4EFC}"/>
    <dgm:cxn modelId="{B275B541-9856-154D-8ED6-330D38E3E890}" type="presOf" srcId="{2C16494F-5FEB-734D-AD82-1F32DCF6C7DA}" destId="{E5503698-02DF-4B3E-A893-7B1230F9122C}" srcOrd="0" destOrd="0" presId="urn:microsoft.com/office/officeart/2005/8/layout/lProcess2"/>
    <dgm:cxn modelId="{8DB47942-788F-E440-8076-6C944717CE72}" srcId="{041079E0-7952-1047-8053-3D1A76F23BD1}" destId="{835E2BC9-B720-714D-BF98-A7747F6054CF}" srcOrd="0" destOrd="0" parTransId="{F672D8E6-BF6C-F646-AC5F-C760A478B652}" sibTransId="{3522CA8B-44DA-754D-AEBE-29562E91484E}"/>
    <dgm:cxn modelId="{98E61E6E-8FAF-B04C-A3BA-6B0C5C4A8237}" type="presOf" srcId="{AAFE0621-E06D-0944-8D4B-7B7A381155B5}" destId="{EE48B8E7-73E2-1C46-BC9C-02EE27F41EF2}" srcOrd="1" destOrd="0" presId="urn:microsoft.com/office/officeart/2005/8/layout/lProcess2"/>
    <dgm:cxn modelId="{2A4A0E72-8C03-E041-A03A-EA06B8BC6ACA}" type="presOf" srcId="{32644598-7627-174D-9607-4AF815B5DB5F}" destId="{5ACEAB77-2AD5-054A-A033-BE71D0703B08}" srcOrd="1" destOrd="0" presId="urn:microsoft.com/office/officeart/2005/8/layout/lProcess2"/>
    <dgm:cxn modelId="{83071776-996D-CC4A-B5BB-9FA2C8A87C76}" type="presOf" srcId="{BB0BD2C5-262B-4D41-AA8C-97091A413735}" destId="{191DA4A2-4C9C-F446-B04C-90064DADB6FE}" srcOrd="0" destOrd="0" presId="urn:microsoft.com/office/officeart/2005/8/layout/lProcess2"/>
    <dgm:cxn modelId="{0FBD6C7C-4BA7-FD4C-9A35-59F0C34EEACA}" type="presOf" srcId="{274B79CC-54AB-7345-8C9A-43904D91A072}" destId="{88ADF287-9D92-4837-B86E-ED1AADB112C2}" srcOrd="0" destOrd="0" presId="urn:microsoft.com/office/officeart/2005/8/layout/lProcess2"/>
    <dgm:cxn modelId="{E61F889B-86A5-8744-84BE-267C6117301B}" type="presOf" srcId="{00171A40-21B3-554B-83A6-8CB40799676B}" destId="{38EC4E77-1819-4F37-8095-7D34998EB735}" srcOrd="0" destOrd="0" presId="urn:microsoft.com/office/officeart/2005/8/layout/lProcess2"/>
    <dgm:cxn modelId="{345CD6A2-0D9F-5345-A99D-7C4D27DF4DAB}" type="presOf" srcId="{FCB3E776-9B86-DA4C-AB51-12DD4ABF5A6E}" destId="{35BC85DE-DE74-5945-93B9-C225187E5C40}" srcOrd="0" destOrd="0" presId="urn:microsoft.com/office/officeart/2005/8/layout/lProcess2"/>
    <dgm:cxn modelId="{69B13DAE-9FED-EE4A-A00C-03EF58897693}" type="presOf" srcId="{E52AF6CE-C3D1-814B-ADFB-657DDBE90B1B}" destId="{CE354BA4-6020-D24F-9821-4E909E50329A}" srcOrd="0" destOrd="0" presId="urn:microsoft.com/office/officeart/2005/8/layout/lProcess2"/>
    <dgm:cxn modelId="{2DC084B1-6EA1-3248-BC20-B3324C10F2C6}" type="presOf" srcId="{041079E0-7952-1047-8053-3D1A76F23BD1}" destId="{B4084B6A-656F-1E45-9005-A59DF445688C}" srcOrd="1" destOrd="0" presId="urn:microsoft.com/office/officeart/2005/8/layout/lProcess2"/>
    <dgm:cxn modelId="{801760B2-3DA0-4548-B6DD-8754731906FF}" srcId="{041079E0-7952-1047-8053-3D1A76F23BD1}" destId="{2C16494F-5FEB-734D-AD82-1F32DCF6C7DA}" srcOrd="1" destOrd="0" parTransId="{BCF21AFE-347F-8A46-97CD-3B9D879AA69A}" sibTransId="{C56EE280-5B7D-C24F-A797-5D65A3FA7139}"/>
    <dgm:cxn modelId="{B0895EBD-6E30-3442-AE20-E81EBAB24098}" srcId="{32644598-7627-174D-9607-4AF815B5DB5F}" destId="{FCB3E776-9B86-DA4C-AB51-12DD4ABF5A6E}" srcOrd="1" destOrd="0" parTransId="{8781AE39-56B9-2E42-8B01-F07AD1B2B4DE}" sibTransId="{A595177F-F5BE-4647-8270-0B4B8FA42E17}"/>
    <dgm:cxn modelId="{8FD82DCD-9058-734B-A621-1F5E42DB4836}" srcId="{BB0BD2C5-262B-4D41-AA8C-97091A413735}" destId="{AAFE0621-E06D-0944-8D4B-7B7A381155B5}" srcOrd="2" destOrd="0" parTransId="{5C1FDEAB-D7AA-AE42-93C3-92237F490D66}" sibTransId="{02E28839-4621-9D4C-990E-4C37BDA5B65E}"/>
    <dgm:cxn modelId="{9F3C4AE7-43E8-134B-BD5E-7980E1F407D3}" type="presOf" srcId="{AAFE0621-E06D-0944-8D4B-7B7A381155B5}" destId="{FC15546F-4354-D54A-B7DB-992FE21A48A1}" srcOrd="0" destOrd="0" presId="urn:microsoft.com/office/officeart/2005/8/layout/lProcess2"/>
    <dgm:cxn modelId="{982163F1-D8A6-8E47-A896-E96E0BF4F63F}" srcId="{AAFE0621-E06D-0944-8D4B-7B7A381155B5}" destId="{00171A40-21B3-554B-83A6-8CB40799676B}" srcOrd="1" destOrd="0" parTransId="{7D164EF3-7EDC-354D-ADCE-AC71A7936564}" sibTransId="{C521A6DA-1AEB-A343-AC6B-39C80FE9BC37}"/>
    <dgm:cxn modelId="{14B796F3-E6E3-7A4A-AA5A-24BD5F48A8F2}" type="presOf" srcId="{835E2BC9-B720-714D-BF98-A7747F6054CF}" destId="{1DBB65EB-9652-4646-97A8-2E069BE478F0}" srcOrd="0" destOrd="0" presId="urn:microsoft.com/office/officeart/2005/8/layout/lProcess2"/>
    <dgm:cxn modelId="{2D0A8FA1-CA17-184F-A243-0EDE02694FC2}" type="presParOf" srcId="{191DA4A2-4C9C-F446-B04C-90064DADB6FE}" destId="{18730E9E-8944-A84F-8C1B-A5E98D1CBFB3}" srcOrd="0" destOrd="0" presId="urn:microsoft.com/office/officeart/2005/8/layout/lProcess2"/>
    <dgm:cxn modelId="{6986DF84-06C6-D141-B38A-9AA64DE117AB}" type="presParOf" srcId="{18730E9E-8944-A84F-8C1B-A5E98D1CBFB3}" destId="{50FBDABD-4CA3-F047-85DA-7929B66B7048}" srcOrd="0" destOrd="0" presId="urn:microsoft.com/office/officeart/2005/8/layout/lProcess2"/>
    <dgm:cxn modelId="{C0D6F2DD-1993-9141-B62C-EBB43A6E72C8}" type="presParOf" srcId="{18730E9E-8944-A84F-8C1B-A5E98D1CBFB3}" destId="{5ACEAB77-2AD5-054A-A033-BE71D0703B08}" srcOrd="1" destOrd="0" presId="urn:microsoft.com/office/officeart/2005/8/layout/lProcess2"/>
    <dgm:cxn modelId="{40193D4A-2442-8E43-A173-4D66D7E91BBD}" type="presParOf" srcId="{18730E9E-8944-A84F-8C1B-A5E98D1CBFB3}" destId="{CE9B78B6-4F75-AE49-81D2-34973FB3B786}" srcOrd="2" destOrd="0" presId="urn:microsoft.com/office/officeart/2005/8/layout/lProcess2"/>
    <dgm:cxn modelId="{324AC03D-3C30-6D4D-AD1C-6F6B907D4019}" type="presParOf" srcId="{CE9B78B6-4F75-AE49-81D2-34973FB3B786}" destId="{8C7DC6A5-BCA6-834C-8266-48C4E41B28DB}" srcOrd="0" destOrd="0" presId="urn:microsoft.com/office/officeart/2005/8/layout/lProcess2"/>
    <dgm:cxn modelId="{20141303-750B-994E-B7F5-D346E1E76FA9}" type="presParOf" srcId="{8C7DC6A5-BCA6-834C-8266-48C4E41B28DB}" destId="{CE354BA4-6020-D24F-9821-4E909E50329A}" srcOrd="0" destOrd="0" presId="urn:microsoft.com/office/officeart/2005/8/layout/lProcess2"/>
    <dgm:cxn modelId="{999699FF-426C-264F-ABC5-B95E7C57CEBC}" type="presParOf" srcId="{8C7DC6A5-BCA6-834C-8266-48C4E41B28DB}" destId="{3673ECF5-6E2B-9447-BA4F-F6FCE0F8BC70}" srcOrd="1" destOrd="0" presId="urn:microsoft.com/office/officeart/2005/8/layout/lProcess2"/>
    <dgm:cxn modelId="{2D87C452-773E-C749-B515-86239D859834}" type="presParOf" srcId="{8C7DC6A5-BCA6-834C-8266-48C4E41B28DB}" destId="{35BC85DE-DE74-5945-93B9-C225187E5C40}" srcOrd="2" destOrd="0" presId="urn:microsoft.com/office/officeart/2005/8/layout/lProcess2"/>
    <dgm:cxn modelId="{797A0728-6A32-F842-98CE-5B7FDA89F595}" type="presParOf" srcId="{8C7DC6A5-BCA6-834C-8266-48C4E41B28DB}" destId="{6AD133CD-25F6-AA41-B62A-73B50B1ABED6}" srcOrd="3" destOrd="0" presId="urn:microsoft.com/office/officeart/2005/8/layout/lProcess2"/>
    <dgm:cxn modelId="{7346586C-E5E3-2341-B640-562702CBEC0F}" type="presParOf" srcId="{8C7DC6A5-BCA6-834C-8266-48C4E41B28DB}" destId="{4DDF9B2C-9FE7-EA44-BA19-7CD4680AB339}" srcOrd="4" destOrd="0" presId="urn:microsoft.com/office/officeart/2005/8/layout/lProcess2"/>
    <dgm:cxn modelId="{121BC142-8ABA-FF40-B627-32B7FC5EF89A}" type="presParOf" srcId="{191DA4A2-4C9C-F446-B04C-90064DADB6FE}" destId="{122D840B-B062-8A4F-A6F5-552269276335}" srcOrd="1" destOrd="0" presId="urn:microsoft.com/office/officeart/2005/8/layout/lProcess2"/>
    <dgm:cxn modelId="{3DFDFFE2-18F2-EA42-AFF2-32B00A849CAA}" type="presParOf" srcId="{191DA4A2-4C9C-F446-B04C-90064DADB6FE}" destId="{5F2D4E71-639F-CC4C-9B13-16C3D7E7CA4A}" srcOrd="2" destOrd="0" presId="urn:microsoft.com/office/officeart/2005/8/layout/lProcess2"/>
    <dgm:cxn modelId="{B74AA618-86B8-4B47-95A3-8603535FBFFC}" type="presParOf" srcId="{5F2D4E71-639F-CC4C-9B13-16C3D7E7CA4A}" destId="{67A75D55-F62C-5B44-BF02-8F96A5E30B4D}" srcOrd="0" destOrd="0" presId="urn:microsoft.com/office/officeart/2005/8/layout/lProcess2"/>
    <dgm:cxn modelId="{43D4BCD5-742F-A849-B9A8-2A8EA2F430AA}" type="presParOf" srcId="{5F2D4E71-639F-CC4C-9B13-16C3D7E7CA4A}" destId="{B4084B6A-656F-1E45-9005-A59DF445688C}" srcOrd="1" destOrd="0" presId="urn:microsoft.com/office/officeart/2005/8/layout/lProcess2"/>
    <dgm:cxn modelId="{B55B62D4-9047-404A-8943-81C41C49EC2E}" type="presParOf" srcId="{5F2D4E71-639F-CC4C-9B13-16C3D7E7CA4A}" destId="{700FB678-246A-594E-810A-9C4E77978D89}" srcOrd="2" destOrd="0" presId="urn:microsoft.com/office/officeart/2005/8/layout/lProcess2"/>
    <dgm:cxn modelId="{2D2E0AB8-2E20-6A44-A415-EC9FE03E3AD3}" type="presParOf" srcId="{700FB678-246A-594E-810A-9C4E77978D89}" destId="{4B8BF40D-5ABA-064C-87FB-4A97EBCC0276}" srcOrd="0" destOrd="0" presId="urn:microsoft.com/office/officeart/2005/8/layout/lProcess2"/>
    <dgm:cxn modelId="{8683E8CF-CB52-6F45-9CDC-FF46384C9155}" type="presParOf" srcId="{4B8BF40D-5ABA-064C-87FB-4A97EBCC0276}" destId="{1DBB65EB-9652-4646-97A8-2E069BE478F0}" srcOrd="0" destOrd="0" presId="urn:microsoft.com/office/officeart/2005/8/layout/lProcess2"/>
    <dgm:cxn modelId="{AA4E5B20-DDD0-5F4B-9277-B5D020157231}" type="presParOf" srcId="{4B8BF40D-5ABA-064C-87FB-4A97EBCC0276}" destId="{5453751A-5D9D-4E6A-A3F1-7C784A168451}" srcOrd="1" destOrd="0" presId="urn:microsoft.com/office/officeart/2005/8/layout/lProcess2"/>
    <dgm:cxn modelId="{1FD0CA9E-2853-8C48-829B-674488607801}" type="presParOf" srcId="{4B8BF40D-5ABA-064C-87FB-4A97EBCC0276}" destId="{E5503698-02DF-4B3E-A893-7B1230F9122C}" srcOrd="2" destOrd="0" presId="urn:microsoft.com/office/officeart/2005/8/layout/lProcess2"/>
    <dgm:cxn modelId="{C54D7E2B-691C-624B-B556-D5C7A5EF8C84}" type="presParOf" srcId="{191DA4A2-4C9C-F446-B04C-90064DADB6FE}" destId="{A0107E9F-31AC-6C42-A29E-EEDEE839A54C}" srcOrd="3" destOrd="0" presId="urn:microsoft.com/office/officeart/2005/8/layout/lProcess2"/>
    <dgm:cxn modelId="{86601B93-8B19-B44E-B094-28898938387E}" type="presParOf" srcId="{191DA4A2-4C9C-F446-B04C-90064DADB6FE}" destId="{BEBFB730-9529-7F46-AFE2-75D09639ED61}" srcOrd="4" destOrd="0" presId="urn:microsoft.com/office/officeart/2005/8/layout/lProcess2"/>
    <dgm:cxn modelId="{107EC3A7-65BB-E74C-ADF1-F28F5A414EA9}" type="presParOf" srcId="{BEBFB730-9529-7F46-AFE2-75D09639ED61}" destId="{FC15546F-4354-D54A-B7DB-992FE21A48A1}" srcOrd="0" destOrd="0" presId="urn:microsoft.com/office/officeart/2005/8/layout/lProcess2"/>
    <dgm:cxn modelId="{AC9111D6-F431-A844-A11A-752099DD0A06}" type="presParOf" srcId="{BEBFB730-9529-7F46-AFE2-75D09639ED61}" destId="{EE48B8E7-73E2-1C46-BC9C-02EE27F41EF2}" srcOrd="1" destOrd="0" presId="urn:microsoft.com/office/officeart/2005/8/layout/lProcess2"/>
    <dgm:cxn modelId="{95FDC851-6B1C-6344-BD52-0CB99B76BD25}" type="presParOf" srcId="{BEBFB730-9529-7F46-AFE2-75D09639ED61}" destId="{BAB9E112-CBFA-BD41-9863-D75E84AB4785}" srcOrd="2" destOrd="0" presId="urn:microsoft.com/office/officeart/2005/8/layout/lProcess2"/>
    <dgm:cxn modelId="{9FA2C3EB-D9E8-7848-BA10-75F16A39174F}" type="presParOf" srcId="{BAB9E112-CBFA-BD41-9863-D75E84AB4785}" destId="{855E3C26-0D55-FD45-B561-6F10198728B6}" srcOrd="0" destOrd="0" presId="urn:microsoft.com/office/officeart/2005/8/layout/lProcess2"/>
    <dgm:cxn modelId="{58659527-2C16-6F43-97A3-D9FF4401406C}" type="presParOf" srcId="{855E3C26-0D55-FD45-B561-6F10198728B6}" destId="{88ADF287-9D92-4837-B86E-ED1AADB112C2}" srcOrd="0" destOrd="0" presId="urn:microsoft.com/office/officeart/2005/8/layout/lProcess2"/>
    <dgm:cxn modelId="{5826AA2C-607C-9E4E-A398-E15AC76F246B}" type="presParOf" srcId="{855E3C26-0D55-FD45-B561-6F10198728B6}" destId="{B66F7CE1-9497-4AA7-B5DE-1E37A728EE22}" srcOrd="1" destOrd="0" presId="urn:microsoft.com/office/officeart/2005/8/layout/lProcess2"/>
    <dgm:cxn modelId="{FCA9827B-0F42-2644-BF87-5F6D6E1091E0}" type="presParOf" srcId="{855E3C26-0D55-FD45-B561-6F10198728B6}" destId="{38EC4E77-1819-4F37-8095-7D34998EB735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8C1A6C22-393E-F640-84CF-7DDFAB6937D9}" type="doc">
      <dgm:prSet loTypeId="urn:microsoft.com/office/officeart/2005/8/layout/pyramid1" loCatId="" qsTypeId="urn:microsoft.com/office/officeart/2005/8/quickstyle/simple1" qsCatId="simple" csTypeId="urn:microsoft.com/office/officeart/2005/8/colors/colorful2" csCatId="colorful" phldr="1"/>
      <dgm:spPr/>
    </dgm:pt>
    <dgm:pt modelId="{C7A6F0E8-FCAD-6F44-B052-A590DF622A09}">
      <dgm:prSet phldrT="[Text]" custT="1"/>
      <dgm:spPr/>
      <dgm:t>
        <a:bodyPr/>
        <a:lstStyle/>
        <a:p>
          <a:endParaRPr lang="en-US" sz="2000" dirty="0"/>
        </a:p>
        <a:p>
          <a:r>
            <a:rPr lang="en-US" sz="2000" b="0" dirty="0">
              <a:solidFill>
                <a:schemeClr val="bg1"/>
              </a:solidFill>
              <a:latin typeface="+mn-lt"/>
            </a:rPr>
            <a:t>Major</a:t>
          </a:r>
        </a:p>
      </dgm:t>
    </dgm:pt>
    <dgm:pt modelId="{4B6D702C-8A1E-1A40-BBAB-74905A9C8A01}" type="parTrans" cxnId="{95123F38-928B-A54C-948C-C4D21EDD9253}">
      <dgm:prSet/>
      <dgm:spPr/>
      <dgm:t>
        <a:bodyPr/>
        <a:lstStyle/>
        <a:p>
          <a:endParaRPr lang="en-US"/>
        </a:p>
      </dgm:t>
    </dgm:pt>
    <dgm:pt modelId="{725E025B-0E19-374D-83EF-064D9F20DCEB}" type="sibTrans" cxnId="{95123F38-928B-A54C-948C-C4D21EDD9253}">
      <dgm:prSet/>
      <dgm:spPr/>
      <dgm:t>
        <a:bodyPr/>
        <a:lstStyle/>
        <a:p>
          <a:endParaRPr lang="en-US"/>
        </a:p>
      </dgm:t>
    </dgm:pt>
    <dgm:pt modelId="{956AA744-E260-3C4E-9DC6-6489DA8EFC04}">
      <dgm:prSet phldrT="[Text]" custT="1"/>
      <dgm:spPr/>
      <dgm:t>
        <a:bodyPr/>
        <a:lstStyle/>
        <a:p>
          <a:r>
            <a:rPr lang="en-US" sz="2200" dirty="0">
              <a:solidFill>
                <a:schemeClr val="bg1"/>
              </a:solidFill>
              <a:latin typeface="+mn-lt"/>
            </a:rPr>
            <a:t>Significant</a:t>
          </a:r>
        </a:p>
      </dgm:t>
    </dgm:pt>
    <dgm:pt modelId="{C1ECD2C5-2308-9746-98AE-F9FC295E55A2}" type="parTrans" cxnId="{D02B54AC-3DA6-F943-9E2A-1D1D981FAA4A}">
      <dgm:prSet/>
      <dgm:spPr/>
      <dgm:t>
        <a:bodyPr/>
        <a:lstStyle/>
        <a:p>
          <a:endParaRPr lang="en-US"/>
        </a:p>
      </dgm:t>
    </dgm:pt>
    <dgm:pt modelId="{21EF1400-919F-7448-A040-40096D71CDE6}" type="sibTrans" cxnId="{D02B54AC-3DA6-F943-9E2A-1D1D981FAA4A}">
      <dgm:prSet/>
      <dgm:spPr/>
      <dgm:t>
        <a:bodyPr/>
        <a:lstStyle/>
        <a:p>
          <a:endParaRPr lang="en-US"/>
        </a:p>
      </dgm:t>
    </dgm:pt>
    <dgm:pt modelId="{C8AFD3CC-460A-B24D-ADE0-2652F91A3D6E}">
      <dgm:prSet phldrT="[Text]" custT="1"/>
      <dgm:spPr/>
      <dgm:t>
        <a:bodyPr/>
        <a:lstStyle/>
        <a:p>
          <a:r>
            <a:rPr lang="en-US" sz="2200" dirty="0">
              <a:solidFill>
                <a:schemeClr val="bg1"/>
              </a:solidFill>
              <a:latin typeface="+mn-lt"/>
            </a:rPr>
            <a:t>Minor</a:t>
          </a:r>
        </a:p>
      </dgm:t>
    </dgm:pt>
    <dgm:pt modelId="{1BB22D4D-1EC4-DB48-B632-EECE6D43C276}" type="parTrans" cxnId="{AB1D8790-5214-0948-AA47-61DC02922C76}">
      <dgm:prSet/>
      <dgm:spPr/>
      <dgm:t>
        <a:bodyPr/>
        <a:lstStyle/>
        <a:p>
          <a:endParaRPr lang="en-US"/>
        </a:p>
      </dgm:t>
    </dgm:pt>
    <dgm:pt modelId="{98C7BAC2-9C20-264A-B862-E8ECD6DADFB7}" type="sibTrans" cxnId="{AB1D8790-5214-0948-AA47-61DC02922C76}">
      <dgm:prSet/>
      <dgm:spPr/>
      <dgm:t>
        <a:bodyPr/>
        <a:lstStyle/>
        <a:p>
          <a:endParaRPr lang="en-US"/>
        </a:p>
      </dgm:t>
    </dgm:pt>
    <dgm:pt modelId="{09EF2F45-3428-6245-A13D-53DFAECC1CAF}">
      <dgm:prSet custT="1"/>
      <dgm:spPr/>
      <dgm:t>
        <a:bodyPr/>
        <a:lstStyle/>
        <a:p>
          <a:r>
            <a:rPr lang="en-US" sz="2200" dirty="0">
              <a:solidFill>
                <a:schemeClr val="bg1"/>
              </a:solidFill>
              <a:latin typeface="+mn-lt"/>
            </a:rPr>
            <a:t>Pre-approved</a:t>
          </a:r>
        </a:p>
      </dgm:t>
    </dgm:pt>
    <dgm:pt modelId="{BF1EA068-51A2-3448-BF01-B530C704444D}" type="parTrans" cxnId="{4EFFE6B6-0F2E-8E47-9728-A8D26DE8F769}">
      <dgm:prSet/>
      <dgm:spPr/>
      <dgm:t>
        <a:bodyPr/>
        <a:lstStyle/>
        <a:p>
          <a:endParaRPr lang="en-US"/>
        </a:p>
      </dgm:t>
    </dgm:pt>
    <dgm:pt modelId="{E6925065-DA09-3C40-B432-4F4194825856}" type="sibTrans" cxnId="{4EFFE6B6-0F2E-8E47-9728-A8D26DE8F769}">
      <dgm:prSet/>
      <dgm:spPr/>
      <dgm:t>
        <a:bodyPr/>
        <a:lstStyle/>
        <a:p>
          <a:endParaRPr lang="en-US"/>
        </a:p>
      </dgm:t>
    </dgm:pt>
    <dgm:pt modelId="{13DF7F93-A77B-934C-96CF-601A45D42E27}">
      <dgm:prSet custT="1"/>
      <dgm:spPr/>
      <dgm:t>
        <a:bodyPr/>
        <a:lstStyle/>
        <a:p>
          <a:r>
            <a:rPr lang="en-US" sz="2200" dirty="0">
              <a:solidFill>
                <a:schemeClr val="bg1"/>
              </a:solidFill>
              <a:latin typeface="+mn-lt"/>
            </a:rPr>
            <a:t>SOP</a:t>
          </a:r>
        </a:p>
      </dgm:t>
    </dgm:pt>
    <dgm:pt modelId="{AA03B801-47A3-6943-A7EE-5146BC1E7046}" type="parTrans" cxnId="{C877A2CE-F342-414B-89C6-0535D5E4B76A}">
      <dgm:prSet/>
      <dgm:spPr/>
      <dgm:t>
        <a:bodyPr/>
        <a:lstStyle/>
        <a:p>
          <a:endParaRPr lang="en-US"/>
        </a:p>
      </dgm:t>
    </dgm:pt>
    <dgm:pt modelId="{ACE50C2E-3EE1-2E41-8F62-3FF100B5B328}" type="sibTrans" cxnId="{C877A2CE-F342-414B-89C6-0535D5E4B76A}">
      <dgm:prSet/>
      <dgm:spPr/>
      <dgm:t>
        <a:bodyPr/>
        <a:lstStyle/>
        <a:p>
          <a:endParaRPr lang="en-US"/>
        </a:p>
      </dgm:t>
    </dgm:pt>
    <dgm:pt modelId="{18DA7DD1-E7E4-9649-932A-AB8556A1FD94}">
      <dgm:prSet custT="1"/>
      <dgm:spPr/>
      <dgm:t>
        <a:bodyPr/>
        <a:lstStyle/>
        <a:p>
          <a:r>
            <a:rPr lang="en-US" sz="1600" dirty="0">
              <a:latin typeface="+mn-lt"/>
            </a:rPr>
            <a:t>Minimum lead time: 30+ days for normal change</a:t>
          </a:r>
        </a:p>
      </dgm:t>
    </dgm:pt>
    <dgm:pt modelId="{E1F3F2CE-46E5-D74C-88FE-E463BB68D624}" type="parTrans" cxnId="{150410A3-3378-C542-90AF-BB19CC633578}">
      <dgm:prSet/>
      <dgm:spPr/>
      <dgm:t>
        <a:bodyPr/>
        <a:lstStyle/>
        <a:p>
          <a:endParaRPr lang="en-US"/>
        </a:p>
      </dgm:t>
    </dgm:pt>
    <dgm:pt modelId="{0968E770-B9B8-A441-89B9-31C0BB00D249}" type="sibTrans" cxnId="{150410A3-3378-C542-90AF-BB19CC633578}">
      <dgm:prSet/>
      <dgm:spPr/>
      <dgm:t>
        <a:bodyPr/>
        <a:lstStyle/>
        <a:p>
          <a:endParaRPr lang="en-US"/>
        </a:p>
      </dgm:t>
    </dgm:pt>
    <dgm:pt modelId="{F23FAB69-C4EB-4DFA-AF7D-A1D110FA8651}">
      <dgm:prSet custT="1"/>
      <dgm:spPr/>
      <dgm:t>
        <a:bodyPr/>
        <a:lstStyle/>
        <a:p>
          <a:r>
            <a:rPr lang="en-US" sz="1600" dirty="0">
              <a:latin typeface="+mn-lt"/>
            </a:rPr>
            <a:t>Meetings: CCB</a:t>
          </a:r>
          <a:endParaRPr lang="en-US" sz="1600" dirty="0">
            <a:highlight>
              <a:srgbClr val="FFFF00"/>
            </a:highlight>
            <a:latin typeface="+mn-lt"/>
          </a:endParaRPr>
        </a:p>
      </dgm:t>
    </dgm:pt>
    <dgm:pt modelId="{5E9AF08B-B582-4AA2-9356-D182359D70FB}" type="parTrans" cxnId="{790BF7C3-57C6-4C85-8C72-20110A258FD1}">
      <dgm:prSet/>
      <dgm:spPr/>
      <dgm:t>
        <a:bodyPr/>
        <a:lstStyle/>
        <a:p>
          <a:endParaRPr lang="en-US"/>
        </a:p>
      </dgm:t>
    </dgm:pt>
    <dgm:pt modelId="{A483A912-9360-489E-8D4E-E3521CFF4610}" type="sibTrans" cxnId="{790BF7C3-57C6-4C85-8C72-20110A258FD1}">
      <dgm:prSet/>
      <dgm:spPr/>
      <dgm:t>
        <a:bodyPr/>
        <a:lstStyle/>
        <a:p>
          <a:endParaRPr lang="en-US"/>
        </a:p>
      </dgm:t>
    </dgm:pt>
    <dgm:pt modelId="{81240657-7D7C-4921-9528-43CE70D892F3}">
      <dgm:prSet custT="1"/>
      <dgm:spPr/>
      <dgm:t>
        <a:bodyPr/>
        <a:lstStyle/>
        <a:p>
          <a:r>
            <a:rPr lang="en-US" sz="1600" dirty="0">
              <a:latin typeface="+mn-lt"/>
            </a:rPr>
            <a:t>Risk is high &amp; impact is all users</a:t>
          </a:r>
        </a:p>
      </dgm:t>
    </dgm:pt>
    <dgm:pt modelId="{CECEE271-3E99-4DAB-915F-B1C61871CC1C}" type="parTrans" cxnId="{A05D75F8-BA51-42C7-A964-79A99B869CE8}">
      <dgm:prSet/>
      <dgm:spPr/>
      <dgm:t>
        <a:bodyPr/>
        <a:lstStyle/>
        <a:p>
          <a:endParaRPr lang="en-US"/>
        </a:p>
      </dgm:t>
    </dgm:pt>
    <dgm:pt modelId="{BB8E0708-034C-458E-ABA1-D945C49328B4}" type="sibTrans" cxnId="{A05D75F8-BA51-42C7-A964-79A99B869CE8}">
      <dgm:prSet/>
      <dgm:spPr/>
      <dgm:t>
        <a:bodyPr/>
        <a:lstStyle/>
        <a:p>
          <a:endParaRPr lang="en-US"/>
        </a:p>
      </dgm:t>
    </dgm:pt>
    <dgm:pt modelId="{B7B279CB-05DF-4EC6-81F7-EF764D371878}">
      <dgm:prSet phldrT="[Text]" custT="1"/>
      <dgm:spPr/>
      <dgm:t>
        <a:bodyPr/>
        <a:lstStyle/>
        <a:p>
          <a:r>
            <a:rPr lang="en-US" sz="1600" dirty="0">
              <a:latin typeface="+mn-lt"/>
            </a:rPr>
            <a:t>Meetings: CCB</a:t>
          </a:r>
          <a:endParaRPr lang="en-US" sz="1600" dirty="0">
            <a:highlight>
              <a:srgbClr val="FFFF00"/>
            </a:highlight>
            <a:latin typeface="+mn-lt"/>
          </a:endParaRPr>
        </a:p>
      </dgm:t>
    </dgm:pt>
    <dgm:pt modelId="{FC030120-FF00-4FB2-B565-BB1625525095}" type="parTrans" cxnId="{C765D4C5-0E20-487E-84B4-A53A0D055371}">
      <dgm:prSet/>
      <dgm:spPr/>
      <dgm:t>
        <a:bodyPr/>
        <a:lstStyle/>
        <a:p>
          <a:endParaRPr lang="en-US"/>
        </a:p>
      </dgm:t>
    </dgm:pt>
    <dgm:pt modelId="{15294542-FE8D-494F-8053-0A7F31D4AB4C}" type="sibTrans" cxnId="{C765D4C5-0E20-487E-84B4-A53A0D055371}">
      <dgm:prSet/>
      <dgm:spPr/>
      <dgm:t>
        <a:bodyPr/>
        <a:lstStyle/>
        <a:p>
          <a:endParaRPr lang="en-US"/>
        </a:p>
      </dgm:t>
    </dgm:pt>
    <dgm:pt modelId="{B2F50943-0077-4D6A-9B0F-5B4DB20414B1}">
      <dgm:prSet phldrT="[Text]" custT="1"/>
      <dgm:spPr/>
      <dgm:t>
        <a:bodyPr/>
        <a:lstStyle/>
        <a:p>
          <a:r>
            <a:rPr lang="en-US" sz="1600" dirty="0">
              <a:latin typeface="+mn-lt"/>
            </a:rPr>
            <a:t>Risk is medium &amp; impact is many users</a:t>
          </a:r>
        </a:p>
      </dgm:t>
    </dgm:pt>
    <dgm:pt modelId="{DED08DF5-D4F6-4776-A5BA-EE0E6580BDF6}" type="parTrans" cxnId="{082E9D9E-AB67-4120-892C-F05410B88356}">
      <dgm:prSet/>
      <dgm:spPr/>
      <dgm:t>
        <a:bodyPr/>
        <a:lstStyle/>
        <a:p>
          <a:endParaRPr lang="en-US"/>
        </a:p>
      </dgm:t>
    </dgm:pt>
    <dgm:pt modelId="{6C6B6D22-B6D1-462D-B39F-2CDCBCDE70F2}" type="sibTrans" cxnId="{082E9D9E-AB67-4120-892C-F05410B88356}">
      <dgm:prSet/>
      <dgm:spPr/>
      <dgm:t>
        <a:bodyPr/>
        <a:lstStyle/>
        <a:p>
          <a:endParaRPr lang="en-US"/>
        </a:p>
      </dgm:t>
    </dgm:pt>
    <dgm:pt modelId="{7949AAB0-90AD-4E94-AE83-82E8F7674A49}">
      <dgm:prSet custT="1"/>
      <dgm:spPr/>
      <dgm:t>
        <a:bodyPr/>
        <a:lstStyle/>
        <a:p>
          <a:r>
            <a:rPr lang="en-US" sz="1600" dirty="0">
              <a:latin typeface="+mn-lt"/>
            </a:rPr>
            <a:t>Meetings: None</a:t>
          </a:r>
        </a:p>
      </dgm:t>
    </dgm:pt>
    <dgm:pt modelId="{036F6ED8-FC72-4A2A-A3EF-2560BD93E089}" type="parTrans" cxnId="{26460BD8-DAEB-4004-AFFB-7C9C3422B018}">
      <dgm:prSet/>
      <dgm:spPr/>
      <dgm:t>
        <a:bodyPr/>
        <a:lstStyle/>
        <a:p>
          <a:endParaRPr lang="en-US"/>
        </a:p>
      </dgm:t>
    </dgm:pt>
    <dgm:pt modelId="{44FAE0E9-E223-4517-883B-A07E4D787961}" type="sibTrans" cxnId="{26460BD8-DAEB-4004-AFFB-7C9C3422B018}">
      <dgm:prSet/>
      <dgm:spPr/>
      <dgm:t>
        <a:bodyPr/>
        <a:lstStyle/>
        <a:p>
          <a:endParaRPr lang="en-US"/>
        </a:p>
      </dgm:t>
    </dgm:pt>
    <dgm:pt modelId="{112EB495-EB8D-409B-BAE4-BFB78C61CCC7}">
      <dgm:prSet custT="1"/>
      <dgm:spPr/>
      <dgm:t>
        <a:bodyPr/>
        <a:lstStyle/>
        <a:p>
          <a:r>
            <a:rPr lang="en-US" sz="1600" dirty="0">
              <a:latin typeface="+mn-lt"/>
            </a:rPr>
            <a:t>Risk is low &amp; impact is few users</a:t>
          </a:r>
        </a:p>
      </dgm:t>
    </dgm:pt>
    <dgm:pt modelId="{77583277-F4F8-47B8-A498-53B049867B3B}" type="parTrans" cxnId="{AECFA174-DB8C-4C83-90AA-1091D0EB4166}">
      <dgm:prSet/>
      <dgm:spPr/>
      <dgm:t>
        <a:bodyPr/>
        <a:lstStyle/>
        <a:p>
          <a:endParaRPr lang="en-US"/>
        </a:p>
      </dgm:t>
    </dgm:pt>
    <dgm:pt modelId="{337BBEB8-A2EC-4233-8FEB-235F4AECF601}" type="sibTrans" cxnId="{AECFA174-DB8C-4C83-90AA-1091D0EB4166}">
      <dgm:prSet/>
      <dgm:spPr/>
      <dgm:t>
        <a:bodyPr/>
        <a:lstStyle/>
        <a:p>
          <a:endParaRPr lang="en-US"/>
        </a:p>
      </dgm:t>
    </dgm:pt>
    <dgm:pt modelId="{3EF91051-C4EE-4B56-881B-D467968357DB}">
      <dgm:prSet custT="1"/>
      <dgm:spPr/>
      <dgm:t>
        <a:bodyPr/>
        <a:lstStyle/>
        <a:p>
          <a:r>
            <a:rPr lang="en-US" sz="1600" dirty="0">
              <a:latin typeface="+mn-lt"/>
            </a:rPr>
            <a:t>Meetings: None</a:t>
          </a:r>
        </a:p>
      </dgm:t>
    </dgm:pt>
    <dgm:pt modelId="{D5CF07EE-6B12-4B03-B779-1D6EEDB189B3}" type="parTrans" cxnId="{4D30408B-CF62-4FCE-9E00-531D9F9C4C6A}">
      <dgm:prSet/>
      <dgm:spPr/>
      <dgm:t>
        <a:bodyPr/>
        <a:lstStyle/>
        <a:p>
          <a:endParaRPr lang="en-US"/>
        </a:p>
      </dgm:t>
    </dgm:pt>
    <dgm:pt modelId="{2EC40B73-D0FE-4380-AE55-F0D1AAE4F2D1}" type="sibTrans" cxnId="{4D30408B-CF62-4FCE-9E00-531D9F9C4C6A}">
      <dgm:prSet/>
      <dgm:spPr/>
      <dgm:t>
        <a:bodyPr/>
        <a:lstStyle/>
        <a:p>
          <a:endParaRPr lang="en-US"/>
        </a:p>
      </dgm:t>
    </dgm:pt>
    <dgm:pt modelId="{B3C351F3-5DBD-46E1-9C51-50622FAAB5A5}">
      <dgm:prSet custT="1"/>
      <dgm:spPr/>
      <dgm:t>
        <a:bodyPr/>
        <a:lstStyle/>
        <a:p>
          <a:r>
            <a:rPr lang="en-US" sz="1600" dirty="0">
              <a:latin typeface="+mn-lt"/>
            </a:rPr>
            <a:t>Risk very low &amp; no impact</a:t>
          </a:r>
        </a:p>
      </dgm:t>
    </dgm:pt>
    <dgm:pt modelId="{0E3A7FB6-A450-40A1-AF86-2E89F834626A}" type="parTrans" cxnId="{19784AF7-04B4-4144-91B7-C902A65A4DA7}">
      <dgm:prSet/>
      <dgm:spPr/>
      <dgm:t>
        <a:bodyPr/>
        <a:lstStyle/>
        <a:p>
          <a:endParaRPr lang="en-US"/>
        </a:p>
      </dgm:t>
    </dgm:pt>
    <dgm:pt modelId="{52F2FE0A-B374-46B5-A802-9DFEC97EAA56}" type="sibTrans" cxnId="{19784AF7-04B4-4144-91B7-C902A65A4DA7}">
      <dgm:prSet/>
      <dgm:spPr/>
      <dgm:t>
        <a:bodyPr/>
        <a:lstStyle/>
        <a:p>
          <a:endParaRPr lang="en-US"/>
        </a:p>
      </dgm:t>
    </dgm:pt>
    <dgm:pt modelId="{6BC64D98-1672-034B-83FC-2C62C35E7F5F}">
      <dgm:prSet custT="1"/>
      <dgm:spPr/>
      <dgm:t>
        <a:bodyPr/>
        <a:lstStyle/>
        <a:p>
          <a:r>
            <a:rPr lang="en-US" sz="1600" dirty="0">
              <a:latin typeface="+mn-lt"/>
            </a:rPr>
            <a:t>Minimum lead time: 7+ days for normal change</a:t>
          </a:r>
        </a:p>
      </dgm:t>
    </dgm:pt>
    <dgm:pt modelId="{EF557DA9-69E4-4041-90BD-3AA30129C62C}" type="parTrans" cxnId="{566A0974-56F2-6347-B86D-E0D3764DC004}">
      <dgm:prSet/>
      <dgm:spPr/>
      <dgm:t>
        <a:bodyPr/>
        <a:lstStyle/>
        <a:p>
          <a:endParaRPr lang="en-US"/>
        </a:p>
      </dgm:t>
    </dgm:pt>
    <dgm:pt modelId="{45FEB32D-340B-3442-B7DA-ED3D500CD560}" type="sibTrans" cxnId="{566A0974-56F2-6347-B86D-E0D3764DC004}">
      <dgm:prSet/>
      <dgm:spPr/>
      <dgm:t>
        <a:bodyPr/>
        <a:lstStyle/>
        <a:p>
          <a:endParaRPr lang="en-US"/>
        </a:p>
      </dgm:t>
    </dgm:pt>
    <dgm:pt modelId="{E47AEDD3-FCB1-8A43-AC0C-73F363A34D50}">
      <dgm:prSet custT="1"/>
      <dgm:spPr/>
      <dgm:t>
        <a:bodyPr/>
        <a:lstStyle/>
        <a:p>
          <a:r>
            <a:rPr lang="en-US" sz="1600" dirty="0">
              <a:latin typeface="+mn-lt"/>
            </a:rPr>
            <a:t>Minimum lead time: 2+ days for normal change</a:t>
          </a:r>
        </a:p>
      </dgm:t>
    </dgm:pt>
    <dgm:pt modelId="{947D9700-F86C-BA4A-976B-2936AF82E46A}" type="parTrans" cxnId="{FC679961-710B-C54C-B75C-968568F10C3C}">
      <dgm:prSet/>
      <dgm:spPr/>
      <dgm:t>
        <a:bodyPr/>
        <a:lstStyle/>
        <a:p>
          <a:endParaRPr lang="en-US"/>
        </a:p>
      </dgm:t>
    </dgm:pt>
    <dgm:pt modelId="{9BF1866C-83AC-014B-AE52-218F798F1251}" type="sibTrans" cxnId="{FC679961-710B-C54C-B75C-968568F10C3C}">
      <dgm:prSet/>
      <dgm:spPr/>
      <dgm:t>
        <a:bodyPr/>
        <a:lstStyle/>
        <a:p>
          <a:endParaRPr lang="en-US"/>
        </a:p>
      </dgm:t>
    </dgm:pt>
    <dgm:pt modelId="{CC9C45D2-5A8F-2647-A245-BEC8B2899C7A}">
      <dgm:prSet custT="1"/>
      <dgm:spPr/>
      <dgm:t>
        <a:bodyPr/>
        <a:lstStyle/>
        <a:p>
          <a:r>
            <a:rPr lang="en-US" sz="1600" dirty="0">
              <a:latin typeface="+mn-lt"/>
            </a:rPr>
            <a:t>Minimum lead time: None</a:t>
          </a:r>
        </a:p>
      </dgm:t>
    </dgm:pt>
    <dgm:pt modelId="{946AB458-294C-4640-B240-A7A4FE42686B}" type="parTrans" cxnId="{1452BBCF-AD28-E747-A1DD-CF7379956802}">
      <dgm:prSet/>
      <dgm:spPr/>
      <dgm:t>
        <a:bodyPr/>
        <a:lstStyle/>
        <a:p>
          <a:endParaRPr lang="en-US"/>
        </a:p>
      </dgm:t>
    </dgm:pt>
    <dgm:pt modelId="{D35CF348-9DDB-F649-B68A-9FAF3348FCE0}" type="sibTrans" cxnId="{1452BBCF-AD28-E747-A1DD-CF7379956802}">
      <dgm:prSet/>
      <dgm:spPr/>
      <dgm:t>
        <a:bodyPr/>
        <a:lstStyle/>
        <a:p>
          <a:endParaRPr lang="en-US"/>
        </a:p>
      </dgm:t>
    </dgm:pt>
    <dgm:pt modelId="{AD60B733-8F8B-4440-B1CF-76EAC576706A}">
      <dgm:prSet custT="1"/>
      <dgm:spPr/>
      <dgm:t>
        <a:bodyPr/>
        <a:lstStyle/>
        <a:p>
          <a:r>
            <a:rPr lang="en-US" sz="1600" dirty="0">
              <a:latin typeface="+mn-lt"/>
            </a:rPr>
            <a:t>Document Repository</a:t>
          </a:r>
        </a:p>
      </dgm:t>
    </dgm:pt>
    <dgm:pt modelId="{37CE4C89-FC88-524A-BF3D-69E1C3C1B5D6}" type="parTrans" cxnId="{19065865-8CBC-8E4D-BE06-F53DEE9B0E6E}">
      <dgm:prSet/>
      <dgm:spPr/>
      <dgm:t>
        <a:bodyPr/>
        <a:lstStyle/>
        <a:p>
          <a:endParaRPr lang="en-US"/>
        </a:p>
      </dgm:t>
    </dgm:pt>
    <dgm:pt modelId="{E949048F-EFE7-3946-AF3A-69C8D1B4D1DE}" type="sibTrans" cxnId="{19065865-8CBC-8E4D-BE06-F53DEE9B0E6E}">
      <dgm:prSet/>
      <dgm:spPr/>
      <dgm:t>
        <a:bodyPr/>
        <a:lstStyle/>
        <a:p>
          <a:endParaRPr lang="en-US"/>
        </a:p>
      </dgm:t>
    </dgm:pt>
    <dgm:pt modelId="{B0D83E0F-78E2-0741-998C-4C70A04A29B4}">
      <dgm:prSet custT="1"/>
      <dgm:spPr/>
      <dgm:t>
        <a:bodyPr/>
        <a:lstStyle/>
        <a:p>
          <a:r>
            <a:rPr lang="en-US" sz="1600" dirty="0">
              <a:latin typeface="+mn-lt"/>
            </a:rPr>
            <a:t>No recorded change</a:t>
          </a:r>
        </a:p>
      </dgm:t>
    </dgm:pt>
    <dgm:pt modelId="{041425DE-AF93-C843-AF85-362FEBFB5302}" type="parTrans" cxnId="{EBB1F56A-C420-F74E-9F84-B6908061319F}">
      <dgm:prSet/>
      <dgm:spPr/>
      <dgm:t>
        <a:bodyPr/>
        <a:lstStyle/>
        <a:p>
          <a:endParaRPr lang="en-US"/>
        </a:p>
      </dgm:t>
    </dgm:pt>
    <dgm:pt modelId="{7C1C667D-7434-884A-99AF-200EB534A593}" type="sibTrans" cxnId="{EBB1F56A-C420-F74E-9F84-B6908061319F}">
      <dgm:prSet/>
      <dgm:spPr/>
      <dgm:t>
        <a:bodyPr/>
        <a:lstStyle/>
        <a:p>
          <a:endParaRPr lang="en-US"/>
        </a:p>
      </dgm:t>
    </dgm:pt>
    <dgm:pt modelId="{CF246C2A-1843-064A-B091-2E0A49AF3821}">
      <dgm:prSet custT="1"/>
      <dgm:spPr/>
      <dgm:t>
        <a:bodyPr/>
        <a:lstStyle/>
        <a:p>
          <a:r>
            <a:rPr lang="en-US" sz="1600" dirty="0">
              <a:latin typeface="+mn-lt"/>
            </a:rPr>
            <a:t>Meetings: None</a:t>
          </a:r>
        </a:p>
      </dgm:t>
    </dgm:pt>
    <dgm:pt modelId="{F1AD991E-16C3-2648-AA86-0A9DF0C612DB}" type="parTrans" cxnId="{9F56D9C4-16DA-7541-B37B-3C1AE6F4AD51}">
      <dgm:prSet/>
      <dgm:spPr/>
      <dgm:t>
        <a:bodyPr/>
        <a:lstStyle/>
        <a:p>
          <a:endParaRPr lang="en-US"/>
        </a:p>
      </dgm:t>
    </dgm:pt>
    <dgm:pt modelId="{2F224BE7-A78B-B745-878C-520F46434EB1}" type="sibTrans" cxnId="{9F56D9C4-16DA-7541-B37B-3C1AE6F4AD51}">
      <dgm:prSet/>
      <dgm:spPr/>
      <dgm:t>
        <a:bodyPr/>
        <a:lstStyle/>
        <a:p>
          <a:endParaRPr lang="en-US"/>
        </a:p>
      </dgm:t>
    </dgm:pt>
    <dgm:pt modelId="{0654B82B-5616-4444-A8E0-3A3AA0535ED0}" type="pres">
      <dgm:prSet presAssocID="{8C1A6C22-393E-F640-84CF-7DDFAB6937D9}" presName="Name0" presStyleCnt="0">
        <dgm:presLayoutVars>
          <dgm:dir/>
          <dgm:animLvl val="lvl"/>
          <dgm:resizeHandles val="exact"/>
        </dgm:presLayoutVars>
      </dgm:prSet>
      <dgm:spPr/>
    </dgm:pt>
    <dgm:pt modelId="{9DDF5AFB-51CB-D146-8EA1-BB6D38CBE7A9}" type="pres">
      <dgm:prSet presAssocID="{C7A6F0E8-FCAD-6F44-B052-A590DF622A09}" presName="Name8" presStyleCnt="0"/>
      <dgm:spPr/>
    </dgm:pt>
    <dgm:pt modelId="{998E33ED-E848-1D40-B967-18ABC889638D}" type="pres">
      <dgm:prSet presAssocID="{C7A6F0E8-FCAD-6F44-B052-A590DF622A09}" presName="acctBkgd" presStyleLbl="alignAcc1" presStyleIdx="0" presStyleCnt="5"/>
      <dgm:spPr/>
    </dgm:pt>
    <dgm:pt modelId="{E4C589D4-A74B-5542-B0B7-45B1770CF742}" type="pres">
      <dgm:prSet presAssocID="{C7A6F0E8-FCAD-6F44-B052-A590DF622A09}" presName="acctTx" presStyleLbl="alignAcc1" presStyleIdx="0" presStyleCnt="5">
        <dgm:presLayoutVars>
          <dgm:bulletEnabled val="1"/>
        </dgm:presLayoutVars>
      </dgm:prSet>
      <dgm:spPr/>
    </dgm:pt>
    <dgm:pt modelId="{2D320BFB-DC33-174B-A8D9-B8674305A6F1}" type="pres">
      <dgm:prSet presAssocID="{C7A6F0E8-FCAD-6F44-B052-A590DF622A09}" presName="level" presStyleLbl="node1" presStyleIdx="0" presStyleCnt="5">
        <dgm:presLayoutVars>
          <dgm:chMax val="1"/>
          <dgm:bulletEnabled val="1"/>
        </dgm:presLayoutVars>
      </dgm:prSet>
      <dgm:spPr/>
    </dgm:pt>
    <dgm:pt modelId="{ED90F53A-FFBF-7B46-96EB-581C3A301143}" type="pres">
      <dgm:prSet presAssocID="{C7A6F0E8-FCAD-6F44-B052-A590DF622A0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FD00C2A-B87F-1740-B082-A3A2449E035D}" type="pres">
      <dgm:prSet presAssocID="{956AA744-E260-3C4E-9DC6-6489DA8EFC04}" presName="Name8" presStyleCnt="0"/>
      <dgm:spPr/>
    </dgm:pt>
    <dgm:pt modelId="{22F7F925-D534-764B-8FC9-791264DA8807}" type="pres">
      <dgm:prSet presAssocID="{956AA744-E260-3C4E-9DC6-6489DA8EFC04}" presName="acctBkgd" presStyleLbl="alignAcc1" presStyleIdx="1" presStyleCnt="5"/>
      <dgm:spPr/>
    </dgm:pt>
    <dgm:pt modelId="{3A0821E7-DAA9-D748-99AF-84DC078D6D3A}" type="pres">
      <dgm:prSet presAssocID="{956AA744-E260-3C4E-9DC6-6489DA8EFC04}" presName="acctTx" presStyleLbl="alignAcc1" presStyleIdx="1" presStyleCnt="5">
        <dgm:presLayoutVars>
          <dgm:bulletEnabled val="1"/>
        </dgm:presLayoutVars>
      </dgm:prSet>
      <dgm:spPr/>
    </dgm:pt>
    <dgm:pt modelId="{696C422F-A791-EA4E-9C17-EBA3AD6C0D30}" type="pres">
      <dgm:prSet presAssocID="{956AA744-E260-3C4E-9DC6-6489DA8EFC04}" presName="level" presStyleLbl="node1" presStyleIdx="1" presStyleCnt="5">
        <dgm:presLayoutVars>
          <dgm:chMax val="1"/>
          <dgm:bulletEnabled val="1"/>
        </dgm:presLayoutVars>
      </dgm:prSet>
      <dgm:spPr/>
    </dgm:pt>
    <dgm:pt modelId="{72D6F3FE-8089-7541-9F50-A790F0A0BEA0}" type="pres">
      <dgm:prSet presAssocID="{956AA744-E260-3C4E-9DC6-6489DA8EFC0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E557B90-C5D6-F44C-98F2-0EA6F1B3F87E}" type="pres">
      <dgm:prSet presAssocID="{C8AFD3CC-460A-B24D-ADE0-2652F91A3D6E}" presName="Name8" presStyleCnt="0"/>
      <dgm:spPr/>
    </dgm:pt>
    <dgm:pt modelId="{12E725CD-A80F-B74E-B8E0-4B9AD90CB693}" type="pres">
      <dgm:prSet presAssocID="{C8AFD3CC-460A-B24D-ADE0-2652F91A3D6E}" presName="acctBkgd" presStyleLbl="alignAcc1" presStyleIdx="2" presStyleCnt="5"/>
      <dgm:spPr/>
    </dgm:pt>
    <dgm:pt modelId="{4A2C2039-1EC9-9840-B467-C48738F53DEA}" type="pres">
      <dgm:prSet presAssocID="{C8AFD3CC-460A-B24D-ADE0-2652F91A3D6E}" presName="acctTx" presStyleLbl="alignAcc1" presStyleIdx="2" presStyleCnt="5">
        <dgm:presLayoutVars>
          <dgm:bulletEnabled val="1"/>
        </dgm:presLayoutVars>
      </dgm:prSet>
      <dgm:spPr/>
    </dgm:pt>
    <dgm:pt modelId="{CD07451E-2817-384F-933F-05B78683BB65}" type="pres">
      <dgm:prSet presAssocID="{C8AFD3CC-460A-B24D-ADE0-2652F91A3D6E}" presName="level" presStyleLbl="node1" presStyleIdx="2" presStyleCnt="5">
        <dgm:presLayoutVars>
          <dgm:chMax val="1"/>
          <dgm:bulletEnabled val="1"/>
        </dgm:presLayoutVars>
      </dgm:prSet>
      <dgm:spPr/>
    </dgm:pt>
    <dgm:pt modelId="{4F6A076D-110E-9C46-970B-58CB22A57BCB}" type="pres">
      <dgm:prSet presAssocID="{C8AFD3CC-460A-B24D-ADE0-2652F91A3D6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2CE95D2-C127-C048-B278-05A3A61E76AE}" type="pres">
      <dgm:prSet presAssocID="{09EF2F45-3428-6245-A13D-53DFAECC1CAF}" presName="Name8" presStyleCnt="0"/>
      <dgm:spPr/>
    </dgm:pt>
    <dgm:pt modelId="{D135BED2-11C7-E94C-A325-54E76335DA84}" type="pres">
      <dgm:prSet presAssocID="{09EF2F45-3428-6245-A13D-53DFAECC1CAF}" presName="acctBkgd" presStyleLbl="alignAcc1" presStyleIdx="3" presStyleCnt="5"/>
      <dgm:spPr/>
    </dgm:pt>
    <dgm:pt modelId="{DFC5FEDC-A2C6-544B-9382-9D48B1FECF7C}" type="pres">
      <dgm:prSet presAssocID="{09EF2F45-3428-6245-A13D-53DFAECC1CAF}" presName="acctTx" presStyleLbl="alignAcc1" presStyleIdx="3" presStyleCnt="5">
        <dgm:presLayoutVars>
          <dgm:bulletEnabled val="1"/>
        </dgm:presLayoutVars>
      </dgm:prSet>
      <dgm:spPr/>
    </dgm:pt>
    <dgm:pt modelId="{E79004C2-1954-B646-94F4-0DCDA9AE875C}" type="pres">
      <dgm:prSet presAssocID="{09EF2F45-3428-6245-A13D-53DFAECC1CAF}" presName="level" presStyleLbl="node1" presStyleIdx="3" presStyleCnt="5">
        <dgm:presLayoutVars>
          <dgm:chMax val="1"/>
          <dgm:bulletEnabled val="1"/>
        </dgm:presLayoutVars>
      </dgm:prSet>
      <dgm:spPr/>
    </dgm:pt>
    <dgm:pt modelId="{5F52A8BB-F415-DD47-B385-F664FE112C8A}" type="pres">
      <dgm:prSet presAssocID="{09EF2F45-3428-6245-A13D-53DFAECC1CA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5AB85AEA-8A4C-1D4F-81AE-589820DC013A}" type="pres">
      <dgm:prSet presAssocID="{13DF7F93-A77B-934C-96CF-601A45D42E27}" presName="Name8" presStyleCnt="0"/>
      <dgm:spPr/>
    </dgm:pt>
    <dgm:pt modelId="{950BEB79-9E51-9A48-8F3F-D8AA39B8FEAC}" type="pres">
      <dgm:prSet presAssocID="{13DF7F93-A77B-934C-96CF-601A45D42E27}" presName="acctBkgd" presStyleLbl="alignAcc1" presStyleIdx="4" presStyleCnt="5" custScaleX="101339"/>
      <dgm:spPr/>
    </dgm:pt>
    <dgm:pt modelId="{5DCA89B0-39D5-FA45-BFDA-002224554B71}" type="pres">
      <dgm:prSet presAssocID="{13DF7F93-A77B-934C-96CF-601A45D42E27}" presName="acctTx" presStyleLbl="alignAcc1" presStyleIdx="4" presStyleCnt="5">
        <dgm:presLayoutVars>
          <dgm:bulletEnabled val="1"/>
        </dgm:presLayoutVars>
      </dgm:prSet>
      <dgm:spPr/>
    </dgm:pt>
    <dgm:pt modelId="{BA3223FD-B43B-E54B-8EAE-389351EC7991}" type="pres">
      <dgm:prSet presAssocID="{13DF7F93-A77B-934C-96CF-601A45D42E27}" presName="level" presStyleLbl="node1" presStyleIdx="4" presStyleCnt="5">
        <dgm:presLayoutVars>
          <dgm:chMax val="1"/>
          <dgm:bulletEnabled val="1"/>
        </dgm:presLayoutVars>
      </dgm:prSet>
      <dgm:spPr/>
    </dgm:pt>
    <dgm:pt modelId="{10C12A39-9FF6-B84D-B95D-D08CD2118B40}" type="pres">
      <dgm:prSet presAssocID="{13DF7F93-A77B-934C-96CF-601A45D42E27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56E2D01-981D-A544-9A09-AAD0EF5E4F98}" type="presOf" srcId="{F23FAB69-C4EB-4DFA-AF7D-A1D110FA8651}" destId="{998E33ED-E848-1D40-B967-18ABC889638D}" srcOrd="0" destOrd="2" presId="urn:microsoft.com/office/officeart/2005/8/layout/pyramid1"/>
    <dgm:cxn modelId="{B24F0B07-F9D6-CF4B-A35B-4F6E5070D11F}" type="presOf" srcId="{956AA744-E260-3C4E-9DC6-6489DA8EFC04}" destId="{72D6F3FE-8089-7541-9F50-A790F0A0BEA0}" srcOrd="1" destOrd="0" presId="urn:microsoft.com/office/officeart/2005/8/layout/pyramid1"/>
    <dgm:cxn modelId="{7204E20E-0230-614D-876D-2B76FF2CD8E2}" type="presOf" srcId="{7949AAB0-90AD-4E94-AE83-82E8F7674A49}" destId="{4A2C2039-1EC9-9840-B467-C48738F53DEA}" srcOrd="1" destOrd="2" presId="urn:microsoft.com/office/officeart/2005/8/layout/pyramid1"/>
    <dgm:cxn modelId="{AE6B8A12-03B9-1349-9AE5-8FB1BB4848FD}" type="presOf" srcId="{F23FAB69-C4EB-4DFA-AF7D-A1D110FA8651}" destId="{E4C589D4-A74B-5542-B0B7-45B1770CF742}" srcOrd="1" destOrd="2" presId="urn:microsoft.com/office/officeart/2005/8/layout/pyramid1"/>
    <dgm:cxn modelId="{16A58A12-B036-CC45-97E4-1830032E6288}" type="presOf" srcId="{6BC64D98-1672-034B-83FC-2C62C35E7F5F}" destId="{22F7F925-D534-764B-8FC9-791264DA8807}" srcOrd="0" destOrd="1" presId="urn:microsoft.com/office/officeart/2005/8/layout/pyramid1"/>
    <dgm:cxn modelId="{8A6DA01A-4E35-BF42-9356-923AAE224B76}" type="presOf" srcId="{81240657-7D7C-4921-9528-43CE70D892F3}" destId="{998E33ED-E848-1D40-B967-18ABC889638D}" srcOrd="0" destOrd="0" presId="urn:microsoft.com/office/officeart/2005/8/layout/pyramid1"/>
    <dgm:cxn modelId="{6F8EB321-E84D-E042-889A-424A511AED41}" type="presOf" srcId="{CC9C45D2-5A8F-2647-A245-BEC8B2899C7A}" destId="{D135BED2-11C7-E94C-A325-54E76335DA84}" srcOrd="0" destOrd="1" presId="urn:microsoft.com/office/officeart/2005/8/layout/pyramid1"/>
    <dgm:cxn modelId="{6F2F6C27-B564-0645-8A3D-4603C11FF974}" type="presOf" srcId="{CC9C45D2-5A8F-2647-A245-BEC8B2899C7A}" destId="{DFC5FEDC-A2C6-544B-9382-9D48B1FECF7C}" srcOrd="1" destOrd="1" presId="urn:microsoft.com/office/officeart/2005/8/layout/pyramid1"/>
    <dgm:cxn modelId="{14F40B35-F8D5-B54A-BAF5-534DCA284DC6}" type="presOf" srcId="{C8AFD3CC-460A-B24D-ADE0-2652F91A3D6E}" destId="{4F6A076D-110E-9C46-970B-58CB22A57BCB}" srcOrd="1" destOrd="0" presId="urn:microsoft.com/office/officeart/2005/8/layout/pyramid1"/>
    <dgm:cxn modelId="{95123F38-928B-A54C-948C-C4D21EDD9253}" srcId="{8C1A6C22-393E-F640-84CF-7DDFAB6937D9}" destId="{C7A6F0E8-FCAD-6F44-B052-A590DF622A09}" srcOrd="0" destOrd="0" parTransId="{4B6D702C-8A1E-1A40-BBAB-74905A9C8A01}" sibTransId="{725E025B-0E19-374D-83EF-064D9F20DCEB}"/>
    <dgm:cxn modelId="{81EE0C3B-700C-4046-A34A-63320DE6833B}" type="presOf" srcId="{E47AEDD3-FCB1-8A43-AC0C-73F363A34D50}" destId="{12E725CD-A80F-B74E-B8E0-4B9AD90CB693}" srcOrd="0" destOrd="1" presId="urn:microsoft.com/office/officeart/2005/8/layout/pyramid1"/>
    <dgm:cxn modelId="{D75BBF3E-D911-0E49-A299-50572CF7DBAD}" type="presOf" srcId="{AD60B733-8F8B-4440-B1CF-76EAC576706A}" destId="{950BEB79-9E51-9A48-8F3F-D8AA39B8FEAC}" srcOrd="0" destOrd="0" presId="urn:microsoft.com/office/officeart/2005/8/layout/pyramid1"/>
    <dgm:cxn modelId="{C3E65B41-9114-6B47-ABE9-BEAF844E7D39}" type="presOf" srcId="{B2F50943-0077-4D6A-9B0F-5B4DB20414B1}" destId="{3A0821E7-DAA9-D748-99AF-84DC078D6D3A}" srcOrd="1" destOrd="0" presId="urn:microsoft.com/office/officeart/2005/8/layout/pyramid1"/>
    <dgm:cxn modelId="{FC679961-710B-C54C-B75C-968568F10C3C}" srcId="{C8AFD3CC-460A-B24D-ADE0-2652F91A3D6E}" destId="{E47AEDD3-FCB1-8A43-AC0C-73F363A34D50}" srcOrd="1" destOrd="0" parTransId="{947D9700-F86C-BA4A-976B-2936AF82E46A}" sibTransId="{9BF1866C-83AC-014B-AE52-218F798F1251}"/>
    <dgm:cxn modelId="{9C1E3F42-98F1-8548-AA07-480F9E37DA42}" type="presOf" srcId="{B3C351F3-5DBD-46E1-9C51-50622FAAB5A5}" destId="{D135BED2-11C7-E94C-A325-54E76335DA84}" srcOrd="0" destOrd="0" presId="urn:microsoft.com/office/officeart/2005/8/layout/pyramid1"/>
    <dgm:cxn modelId="{BFF06943-4CD4-5F4B-AFC2-E11F19D73A16}" type="presOf" srcId="{B3C351F3-5DBD-46E1-9C51-50622FAAB5A5}" destId="{DFC5FEDC-A2C6-544B-9382-9D48B1FECF7C}" srcOrd="1" destOrd="0" presId="urn:microsoft.com/office/officeart/2005/8/layout/pyramid1"/>
    <dgm:cxn modelId="{95033745-574D-7746-83D2-31D754A0288B}" type="presOf" srcId="{B7B279CB-05DF-4EC6-81F7-EF764D371878}" destId="{22F7F925-D534-764B-8FC9-791264DA8807}" srcOrd="0" destOrd="2" presId="urn:microsoft.com/office/officeart/2005/8/layout/pyramid1"/>
    <dgm:cxn modelId="{FB374B65-B226-0842-B8CA-3FF5AC767D92}" type="presOf" srcId="{CF246C2A-1843-064A-B091-2E0A49AF3821}" destId="{5DCA89B0-39D5-FA45-BFDA-002224554B71}" srcOrd="1" destOrd="2" presId="urn:microsoft.com/office/officeart/2005/8/layout/pyramid1"/>
    <dgm:cxn modelId="{19065865-8CBC-8E4D-BE06-F53DEE9B0E6E}" srcId="{13DF7F93-A77B-934C-96CF-601A45D42E27}" destId="{AD60B733-8F8B-4440-B1CF-76EAC576706A}" srcOrd="0" destOrd="0" parTransId="{37CE4C89-FC88-524A-BF3D-69E1C3C1B5D6}" sibTransId="{E949048F-EFE7-3946-AF3A-69C8D1B4D1DE}"/>
    <dgm:cxn modelId="{2C31DA66-88A9-3841-8E16-3092FAF21EC5}" type="presOf" srcId="{B0D83E0F-78E2-0741-998C-4C70A04A29B4}" destId="{5DCA89B0-39D5-FA45-BFDA-002224554B71}" srcOrd="1" destOrd="1" presId="urn:microsoft.com/office/officeart/2005/8/layout/pyramid1"/>
    <dgm:cxn modelId="{E0B99747-86BF-DD41-8F20-164A2B5BD599}" type="presOf" srcId="{B0D83E0F-78E2-0741-998C-4C70A04A29B4}" destId="{950BEB79-9E51-9A48-8F3F-D8AA39B8FEAC}" srcOrd="0" destOrd="1" presId="urn:microsoft.com/office/officeart/2005/8/layout/pyramid1"/>
    <dgm:cxn modelId="{EBB1F56A-C420-F74E-9F84-B6908061319F}" srcId="{13DF7F93-A77B-934C-96CF-601A45D42E27}" destId="{B0D83E0F-78E2-0741-998C-4C70A04A29B4}" srcOrd="1" destOrd="0" parTransId="{041425DE-AF93-C843-AF85-362FEBFB5302}" sibTransId="{7C1C667D-7434-884A-99AF-200EB534A593}"/>
    <dgm:cxn modelId="{B0F8DA6B-EBA8-044A-A5A2-774F39196A97}" type="presOf" srcId="{C8AFD3CC-460A-B24D-ADE0-2652F91A3D6E}" destId="{CD07451E-2817-384F-933F-05B78683BB65}" srcOrd="0" destOrd="0" presId="urn:microsoft.com/office/officeart/2005/8/layout/pyramid1"/>
    <dgm:cxn modelId="{F8F6D34C-A1C5-1F42-96CF-894846A15F58}" type="presOf" srcId="{6BC64D98-1672-034B-83FC-2C62C35E7F5F}" destId="{3A0821E7-DAA9-D748-99AF-84DC078D6D3A}" srcOrd="1" destOrd="1" presId="urn:microsoft.com/office/officeart/2005/8/layout/pyramid1"/>
    <dgm:cxn modelId="{A8E13B6F-6209-AD42-97F9-EAA016B24C8C}" type="presOf" srcId="{13DF7F93-A77B-934C-96CF-601A45D42E27}" destId="{10C12A39-9FF6-B84D-B95D-D08CD2118B40}" srcOrd="1" destOrd="0" presId="urn:microsoft.com/office/officeart/2005/8/layout/pyramid1"/>
    <dgm:cxn modelId="{64617853-59B8-BE4B-89F0-9E2F4C69F690}" type="presOf" srcId="{09EF2F45-3428-6245-A13D-53DFAECC1CAF}" destId="{5F52A8BB-F415-DD47-B385-F664FE112C8A}" srcOrd="1" destOrd="0" presId="urn:microsoft.com/office/officeart/2005/8/layout/pyramid1"/>
    <dgm:cxn modelId="{695EEA73-212B-0B4A-BBD7-3DA216C76831}" type="presOf" srcId="{AD60B733-8F8B-4440-B1CF-76EAC576706A}" destId="{5DCA89B0-39D5-FA45-BFDA-002224554B71}" srcOrd="1" destOrd="0" presId="urn:microsoft.com/office/officeart/2005/8/layout/pyramid1"/>
    <dgm:cxn modelId="{566A0974-56F2-6347-B86D-E0D3764DC004}" srcId="{956AA744-E260-3C4E-9DC6-6489DA8EFC04}" destId="{6BC64D98-1672-034B-83FC-2C62C35E7F5F}" srcOrd="1" destOrd="0" parTransId="{EF557DA9-69E4-4041-90BD-3AA30129C62C}" sibTransId="{45FEB32D-340B-3442-B7DA-ED3D500CD560}"/>
    <dgm:cxn modelId="{AECFA174-DB8C-4C83-90AA-1091D0EB4166}" srcId="{C8AFD3CC-460A-B24D-ADE0-2652F91A3D6E}" destId="{112EB495-EB8D-409B-BAE4-BFB78C61CCC7}" srcOrd="0" destOrd="0" parTransId="{77583277-F4F8-47B8-A498-53B049867B3B}" sibTransId="{337BBEB8-A2EC-4233-8FEB-235F4AECF601}"/>
    <dgm:cxn modelId="{5C710D84-121A-624C-9D3D-B4F28273F511}" type="presOf" srcId="{8C1A6C22-393E-F640-84CF-7DDFAB6937D9}" destId="{0654B82B-5616-4444-A8E0-3A3AA0535ED0}" srcOrd="0" destOrd="0" presId="urn:microsoft.com/office/officeart/2005/8/layout/pyramid1"/>
    <dgm:cxn modelId="{4D30408B-CF62-4FCE-9E00-531D9F9C4C6A}" srcId="{09EF2F45-3428-6245-A13D-53DFAECC1CAF}" destId="{3EF91051-C4EE-4B56-881B-D467968357DB}" srcOrd="2" destOrd="0" parTransId="{D5CF07EE-6B12-4B03-B779-1D6EEDB189B3}" sibTransId="{2EC40B73-D0FE-4380-AE55-F0D1AAE4F2D1}"/>
    <dgm:cxn modelId="{C84ADC8C-44FF-CF45-AFBA-509DBEAD7CEE}" type="presOf" srcId="{7949AAB0-90AD-4E94-AE83-82E8F7674A49}" destId="{12E725CD-A80F-B74E-B8E0-4B9AD90CB693}" srcOrd="0" destOrd="2" presId="urn:microsoft.com/office/officeart/2005/8/layout/pyramid1"/>
    <dgm:cxn modelId="{AB1D8790-5214-0948-AA47-61DC02922C76}" srcId="{8C1A6C22-393E-F640-84CF-7DDFAB6937D9}" destId="{C8AFD3CC-460A-B24D-ADE0-2652F91A3D6E}" srcOrd="2" destOrd="0" parTransId="{1BB22D4D-1EC4-DB48-B632-EECE6D43C276}" sibTransId="{98C7BAC2-9C20-264A-B862-E8ECD6DADFB7}"/>
    <dgm:cxn modelId="{082E9D9E-AB67-4120-892C-F05410B88356}" srcId="{956AA744-E260-3C4E-9DC6-6489DA8EFC04}" destId="{B2F50943-0077-4D6A-9B0F-5B4DB20414B1}" srcOrd="0" destOrd="0" parTransId="{DED08DF5-D4F6-4776-A5BA-EE0E6580BDF6}" sibTransId="{6C6B6D22-B6D1-462D-B39F-2CDCBCDE70F2}"/>
    <dgm:cxn modelId="{2A7F90A1-DB43-5948-B5DF-E7631B1BFD36}" type="presOf" srcId="{C7A6F0E8-FCAD-6F44-B052-A590DF622A09}" destId="{ED90F53A-FFBF-7B46-96EB-581C3A301143}" srcOrd="1" destOrd="0" presId="urn:microsoft.com/office/officeart/2005/8/layout/pyramid1"/>
    <dgm:cxn modelId="{150410A3-3378-C542-90AF-BB19CC633578}" srcId="{C7A6F0E8-FCAD-6F44-B052-A590DF622A09}" destId="{18DA7DD1-E7E4-9649-932A-AB8556A1FD94}" srcOrd="1" destOrd="0" parTransId="{E1F3F2CE-46E5-D74C-88FE-E463BB68D624}" sibTransId="{0968E770-B9B8-A441-89B9-31C0BB00D249}"/>
    <dgm:cxn modelId="{82A83AA3-5284-2B49-BBAA-A046B8065F6B}" type="presOf" srcId="{B7B279CB-05DF-4EC6-81F7-EF764D371878}" destId="{3A0821E7-DAA9-D748-99AF-84DC078D6D3A}" srcOrd="1" destOrd="2" presId="urn:microsoft.com/office/officeart/2005/8/layout/pyramid1"/>
    <dgm:cxn modelId="{1F6837A5-2CFF-504A-99D6-EABF41066DCB}" type="presOf" srcId="{956AA744-E260-3C4E-9DC6-6489DA8EFC04}" destId="{696C422F-A791-EA4E-9C17-EBA3AD6C0D30}" srcOrd="0" destOrd="0" presId="urn:microsoft.com/office/officeart/2005/8/layout/pyramid1"/>
    <dgm:cxn modelId="{E06EE3A9-A543-224A-B784-A1EA2B6D37BC}" type="presOf" srcId="{81240657-7D7C-4921-9528-43CE70D892F3}" destId="{E4C589D4-A74B-5542-B0B7-45B1770CF742}" srcOrd="1" destOrd="0" presId="urn:microsoft.com/office/officeart/2005/8/layout/pyramid1"/>
    <dgm:cxn modelId="{D02B54AC-3DA6-F943-9E2A-1D1D981FAA4A}" srcId="{8C1A6C22-393E-F640-84CF-7DDFAB6937D9}" destId="{956AA744-E260-3C4E-9DC6-6489DA8EFC04}" srcOrd="1" destOrd="0" parTransId="{C1ECD2C5-2308-9746-98AE-F9FC295E55A2}" sibTransId="{21EF1400-919F-7448-A040-40096D71CDE6}"/>
    <dgm:cxn modelId="{90C77DB0-D32E-CA41-BBAD-F4D90B38C817}" type="presOf" srcId="{C7A6F0E8-FCAD-6F44-B052-A590DF622A09}" destId="{2D320BFB-DC33-174B-A8D9-B8674305A6F1}" srcOrd="0" destOrd="0" presId="urn:microsoft.com/office/officeart/2005/8/layout/pyramid1"/>
    <dgm:cxn modelId="{3054DCB5-9DC9-8444-9992-BE569D31BF36}" type="presOf" srcId="{112EB495-EB8D-409B-BAE4-BFB78C61CCC7}" destId="{4A2C2039-1EC9-9840-B467-C48738F53DEA}" srcOrd="1" destOrd="0" presId="urn:microsoft.com/office/officeart/2005/8/layout/pyramid1"/>
    <dgm:cxn modelId="{4EFFE6B6-0F2E-8E47-9728-A8D26DE8F769}" srcId="{8C1A6C22-393E-F640-84CF-7DDFAB6937D9}" destId="{09EF2F45-3428-6245-A13D-53DFAECC1CAF}" srcOrd="3" destOrd="0" parTransId="{BF1EA068-51A2-3448-BF01-B530C704444D}" sibTransId="{E6925065-DA09-3C40-B432-4F4194825856}"/>
    <dgm:cxn modelId="{AE4394B9-C95A-1147-9146-B49BC11B1BDE}" type="presOf" srcId="{E47AEDD3-FCB1-8A43-AC0C-73F363A34D50}" destId="{4A2C2039-1EC9-9840-B467-C48738F53DEA}" srcOrd="1" destOrd="1" presId="urn:microsoft.com/office/officeart/2005/8/layout/pyramid1"/>
    <dgm:cxn modelId="{AC1927BB-5E0C-8148-B8EC-FF492D2DE6EA}" type="presOf" srcId="{13DF7F93-A77B-934C-96CF-601A45D42E27}" destId="{BA3223FD-B43B-E54B-8EAE-389351EC7991}" srcOrd="0" destOrd="0" presId="urn:microsoft.com/office/officeart/2005/8/layout/pyramid1"/>
    <dgm:cxn modelId="{7DCC26BE-5774-1C4E-85C8-345D732006BD}" type="presOf" srcId="{3EF91051-C4EE-4B56-881B-D467968357DB}" destId="{D135BED2-11C7-E94C-A325-54E76335DA84}" srcOrd="0" destOrd="2" presId="urn:microsoft.com/office/officeart/2005/8/layout/pyramid1"/>
    <dgm:cxn modelId="{790BF7C3-57C6-4C85-8C72-20110A258FD1}" srcId="{C7A6F0E8-FCAD-6F44-B052-A590DF622A09}" destId="{F23FAB69-C4EB-4DFA-AF7D-A1D110FA8651}" srcOrd="2" destOrd="0" parTransId="{5E9AF08B-B582-4AA2-9356-D182359D70FB}" sibTransId="{A483A912-9360-489E-8D4E-E3521CFF4610}"/>
    <dgm:cxn modelId="{9F56D9C4-16DA-7541-B37B-3C1AE6F4AD51}" srcId="{13DF7F93-A77B-934C-96CF-601A45D42E27}" destId="{CF246C2A-1843-064A-B091-2E0A49AF3821}" srcOrd="2" destOrd="0" parTransId="{F1AD991E-16C3-2648-AA86-0A9DF0C612DB}" sibTransId="{2F224BE7-A78B-B745-878C-520F46434EB1}"/>
    <dgm:cxn modelId="{C765D4C5-0E20-487E-84B4-A53A0D055371}" srcId="{956AA744-E260-3C4E-9DC6-6489DA8EFC04}" destId="{B7B279CB-05DF-4EC6-81F7-EF764D371878}" srcOrd="2" destOrd="0" parTransId="{FC030120-FF00-4FB2-B565-BB1625525095}" sibTransId="{15294542-FE8D-494F-8053-0A7F31D4AB4C}"/>
    <dgm:cxn modelId="{60625ECA-8539-F540-9CF2-3A9A429F28C1}" type="presOf" srcId="{09EF2F45-3428-6245-A13D-53DFAECC1CAF}" destId="{E79004C2-1954-B646-94F4-0DCDA9AE875C}" srcOrd="0" destOrd="0" presId="urn:microsoft.com/office/officeart/2005/8/layout/pyramid1"/>
    <dgm:cxn modelId="{5719A7CC-6F3E-BA4A-B6AF-B3035D732681}" type="presOf" srcId="{18DA7DD1-E7E4-9649-932A-AB8556A1FD94}" destId="{E4C589D4-A74B-5542-B0B7-45B1770CF742}" srcOrd="1" destOrd="1" presId="urn:microsoft.com/office/officeart/2005/8/layout/pyramid1"/>
    <dgm:cxn modelId="{D26466CD-C225-0D46-86CB-72017CDB17A6}" type="presOf" srcId="{3EF91051-C4EE-4B56-881B-D467968357DB}" destId="{DFC5FEDC-A2C6-544B-9382-9D48B1FECF7C}" srcOrd="1" destOrd="2" presId="urn:microsoft.com/office/officeart/2005/8/layout/pyramid1"/>
    <dgm:cxn modelId="{989D81CE-9760-C041-8D5C-B9965927CFFD}" type="presOf" srcId="{B2F50943-0077-4D6A-9B0F-5B4DB20414B1}" destId="{22F7F925-D534-764B-8FC9-791264DA8807}" srcOrd="0" destOrd="0" presId="urn:microsoft.com/office/officeart/2005/8/layout/pyramid1"/>
    <dgm:cxn modelId="{C877A2CE-F342-414B-89C6-0535D5E4B76A}" srcId="{8C1A6C22-393E-F640-84CF-7DDFAB6937D9}" destId="{13DF7F93-A77B-934C-96CF-601A45D42E27}" srcOrd="4" destOrd="0" parTransId="{AA03B801-47A3-6943-A7EE-5146BC1E7046}" sibTransId="{ACE50C2E-3EE1-2E41-8F62-3FF100B5B328}"/>
    <dgm:cxn modelId="{1452BBCF-AD28-E747-A1DD-CF7379956802}" srcId="{09EF2F45-3428-6245-A13D-53DFAECC1CAF}" destId="{CC9C45D2-5A8F-2647-A245-BEC8B2899C7A}" srcOrd="1" destOrd="0" parTransId="{946AB458-294C-4640-B240-A7A4FE42686B}" sibTransId="{D35CF348-9DDB-F649-B68A-9FAF3348FCE0}"/>
    <dgm:cxn modelId="{26460BD8-DAEB-4004-AFFB-7C9C3422B018}" srcId="{C8AFD3CC-460A-B24D-ADE0-2652F91A3D6E}" destId="{7949AAB0-90AD-4E94-AE83-82E8F7674A49}" srcOrd="2" destOrd="0" parTransId="{036F6ED8-FC72-4A2A-A3EF-2560BD93E089}" sibTransId="{44FAE0E9-E223-4517-883B-A07E4D787961}"/>
    <dgm:cxn modelId="{9EC4EFD9-FA3A-014B-82FA-86295D44EA27}" type="presOf" srcId="{CF246C2A-1843-064A-B091-2E0A49AF3821}" destId="{950BEB79-9E51-9A48-8F3F-D8AA39B8FEAC}" srcOrd="0" destOrd="2" presId="urn:microsoft.com/office/officeart/2005/8/layout/pyramid1"/>
    <dgm:cxn modelId="{7BA955E9-D5C0-E447-AD3E-C23B9DBBA94F}" type="presOf" srcId="{112EB495-EB8D-409B-BAE4-BFB78C61CCC7}" destId="{12E725CD-A80F-B74E-B8E0-4B9AD90CB693}" srcOrd="0" destOrd="0" presId="urn:microsoft.com/office/officeart/2005/8/layout/pyramid1"/>
    <dgm:cxn modelId="{19784AF7-04B4-4144-91B7-C902A65A4DA7}" srcId="{09EF2F45-3428-6245-A13D-53DFAECC1CAF}" destId="{B3C351F3-5DBD-46E1-9C51-50622FAAB5A5}" srcOrd="0" destOrd="0" parTransId="{0E3A7FB6-A450-40A1-AF86-2E89F834626A}" sibTransId="{52F2FE0A-B374-46B5-A802-9DFEC97EAA56}"/>
    <dgm:cxn modelId="{A05D75F8-BA51-42C7-A964-79A99B869CE8}" srcId="{C7A6F0E8-FCAD-6F44-B052-A590DF622A09}" destId="{81240657-7D7C-4921-9528-43CE70D892F3}" srcOrd="0" destOrd="0" parTransId="{CECEE271-3E99-4DAB-915F-B1C61871CC1C}" sibTransId="{BB8E0708-034C-458E-ABA1-D945C49328B4}"/>
    <dgm:cxn modelId="{C6D76AF9-1A97-FB43-BACA-6A717B317CD6}" type="presOf" srcId="{18DA7DD1-E7E4-9649-932A-AB8556A1FD94}" destId="{998E33ED-E848-1D40-B967-18ABC889638D}" srcOrd="0" destOrd="1" presId="urn:microsoft.com/office/officeart/2005/8/layout/pyramid1"/>
    <dgm:cxn modelId="{0CEAA92A-A563-5045-8EDF-E9A548A8CE28}" type="presParOf" srcId="{0654B82B-5616-4444-A8E0-3A3AA0535ED0}" destId="{9DDF5AFB-51CB-D146-8EA1-BB6D38CBE7A9}" srcOrd="0" destOrd="0" presId="urn:microsoft.com/office/officeart/2005/8/layout/pyramid1"/>
    <dgm:cxn modelId="{34FACD30-7F73-9E42-A388-50AE51D55E8C}" type="presParOf" srcId="{9DDF5AFB-51CB-D146-8EA1-BB6D38CBE7A9}" destId="{998E33ED-E848-1D40-B967-18ABC889638D}" srcOrd="0" destOrd="0" presId="urn:microsoft.com/office/officeart/2005/8/layout/pyramid1"/>
    <dgm:cxn modelId="{E030CAB0-D322-7C4B-9A35-B42C6FC8B9A8}" type="presParOf" srcId="{9DDF5AFB-51CB-D146-8EA1-BB6D38CBE7A9}" destId="{E4C589D4-A74B-5542-B0B7-45B1770CF742}" srcOrd="1" destOrd="0" presId="urn:microsoft.com/office/officeart/2005/8/layout/pyramid1"/>
    <dgm:cxn modelId="{D6E25FE0-92F6-CD47-9D6C-3D33D29631F5}" type="presParOf" srcId="{9DDF5AFB-51CB-D146-8EA1-BB6D38CBE7A9}" destId="{2D320BFB-DC33-174B-A8D9-B8674305A6F1}" srcOrd="2" destOrd="0" presId="urn:microsoft.com/office/officeart/2005/8/layout/pyramid1"/>
    <dgm:cxn modelId="{7592D79D-3360-0A41-A6F0-FD4607011E44}" type="presParOf" srcId="{9DDF5AFB-51CB-D146-8EA1-BB6D38CBE7A9}" destId="{ED90F53A-FFBF-7B46-96EB-581C3A301143}" srcOrd="3" destOrd="0" presId="urn:microsoft.com/office/officeart/2005/8/layout/pyramid1"/>
    <dgm:cxn modelId="{C4CDBBF7-2F23-0B4F-B8F1-2C57C646F78E}" type="presParOf" srcId="{0654B82B-5616-4444-A8E0-3A3AA0535ED0}" destId="{9FD00C2A-B87F-1740-B082-A3A2449E035D}" srcOrd="1" destOrd="0" presId="urn:microsoft.com/office/officeart/2005/8/layout/pyramid1"/>
    <dgm:cxn modelId="{2891F12E-68CE-6446-9725-36B275DA842C}" type="presParOf" srcId="{9FD00C2A-B87F-1740-B082-A3A2449E035D}" destId="{22F7F925-D534-764B-8FC9-791264DA8807}" srcOrd="0" destOrd="0" presId="urn:microsoft.com/office/officeart/2005/8/layout/pyramid1"/>
    <dgm:cxn modelId="{D41CB0D7-090E-0B43-A28A-4B766C33305E}" type="presParOf" srcId="{9FD00C2A-B87F-1740-B082-A3A2449E035D}" destId="{3A0821E7-DAA9-D748-99AF-84DC078D6D3A}" srcOrd="1" destOrd="0" presId="urn:microsoft.com/office/officeart/2005/8/layout/pyramid1"/>
    <dgm:cxn modelId="{A45AE4DF-9C0A-4249-807A-2DC84EBACA55}" type="presParOf" srcId="{9FD00C2A-B87F-1740-B082-A3A2449E035D}" destId="{696C422F-A791-EA4E-9C17-EBA3AD6C0D30}" srcOrd="2" destOrd="0" presId="urn:microsoft.com/office/officeart/2005/8/layout/pyramid1"/>
    <dgm:cxn modelId="{5F7BD314-0869-A941-8AD9-FDE022F1B120}" type="presParOf" srcId="{9FD00C2A-B87F-1740-B082-A3A2449E035D}" destId="{72D6F3FE-8089-7541-9F50-A790F0A0BEA0}" srcOrd="3" destOrd="0" presId="urn:microsoft.com/office/officeart/2005/8/layout/pyramid1"/>
    <dgm:cxn modelId="{682FD9CC-0256-F044-A0CD-CA792B649712}" type="presParOf" srcId="{0654B82B-5616-4444-A8E0-3A3AA0535ED0}" destId="{2E557B90-C5D6-F44C-98F2-0EA6F1B3F87E}" srcOrd="2" destOrd="0" presId="urn:microsoft.com/office/officeart/2005/8/layout/pyramid1"/>
    <dgm:cxn modelId="{2A929246-6CDA-B44B-A399-02584A3FDA5D}" type="presParOf" srcId="{2E557B90-C5D6-F44C-98F2-0EA6F1B3F87E}" destId="{12E725CD-A80F-B74E-B8E0-4B9AD90CB693}" srcOrd="0" destOrd="0" presId="urn:microsoft.com/office/officeart/2005/8/layout/pyramid1"/>
    <dgm:cxn modelId="{E5F73145-5A63-1746-98F6-F34F6205D134}" type="presParOf" srcId="{2E557B90-C5D6-F44C-98F2-0EA6F1B3F87E}" destId="{4A2C2039-1EC9-9840-B467-C48738F53DEA}" srcOrd="1" destOrd="0" presId="urn:microsoft.com/office/officeart/2005/8/layout/pyramid1"/>
    <dgm:cxn modelId="{9B201EC9-DDF5-FB47-AD84-EE8AD9193B8E}" type="presParOf" srcId="{2E557B90-C5D6-F44C-98F2-0EA6F1B3F87E}" destId="{CD07451E-2817-384F-933F-05B78683BB65}" srcOrd="2" destOrd="0" presId="urn:microsoft.com/office/officeart/2005/8/layout/pyramid1"/>
    <dgm:cxn modelId="{C597955F-BFEC-5744-99D8-7DAE690A6363}" type="presParOf" srcId="{2E557B90-C5D6-F44C-98F2-0EA6F1B3F87E}" destId="{4F6A076D-110E-9C46-970B-58CB22A57BCB}" srcOrd="3" destOrd="0" presId="urn:microsoft.com/office/officeart/2005/8/layout/pyramid1"/>
    <dgm:cxn modelId="{94EBEC32-E06C-784D-9256-088A3094CAF2}" type="presParOf" srcId="{0654B82B-5616-4444-A8E0-3A3AA0535ED0}" destId="{82CE95D2-C127-C048-B278-05A3A61E76AE}" srcOrd="3" destOrd="0" presId="urn:microsoft.com/office/officeart/2005/8/layout/pyramid1"/>
    <dgm:cxn modelId="{1779CE57-409F-E64D-8FEE-3CAC1B105544}" type="presParOf" srcId="{82CE95D2-C127-C048-B278-05A3A61E76AE}" destId="{D135BED2-11C7-E94C-A325-54E76335DA84}" srcOrd="0" destOrd="0" presId="urn:microsoft.com/office/officeart/2005/8/layout/pyramid1"/>
    <dgm:cxn modelId="{F5101F41-30FB-1F43-A67B-3D5D7F205F6F}" type="presParOf" srcId="{82CE95D2-C127-C048-B278-05A3A61E76AE}" destId="{DFC5FEDC-A2C6-544B-9382-9D48B1FECF7C}" srcOrd="1" destOrd="0" presId="urn:microsoft.com/office/officeart/2005/8/layout/pyramid1"/>
    <dgm:cxn modelId="{A6739A73-72D0-4948-AD21-F78D09FED667}" type="presParOf" srcId="{82CE95D2-C127-C048-B278-05A3A61E76AE}" destId="{E79004C2-1954-B646-94F4-0DCDA9AE875C}" srcOrd="2" destOrd="0" presId="urn:microsoft.com/office/officeart/2005/8/layout/pyramid1"/>
    <dgm:cxn modelId="{CC514609-EC1E-FC4B-8825-A03E0FF420BD}" type="presParOf" srcId="{82CE95D2-C127-C048-B278-05A3A61E76AE}" destId="{5F52A8BB-F415-DD47-B385-F664FE112C8A}" srcOrd="3" destOrd="0" presId="urn:microsoft.com/office/officeart/2005/8/layout/pyramid1"/>
    <dgm:cxn modelId="{2C9E7122-61E2-C448-9C84-3C682D65222B}" type="presParOf" srcId="{0654B82B-5616-4444-A8E0-3A3AA0535ED0}" destId="{5AB85AEA-8A4C-1D4F-81AE-589820DC013A}" srcOrd="4" destOrd="0" presId="urn:microsoft.com/office/officeart/2005/8/layout/pyramid1"/>
    <dgm:cxn modelId="{B88B3DCE-9B54-2F49-AFE2-F07B32CF7238}" type="presParOf" srcId="{5AB85AEA-8A4C-1D4F-81AE-589820DC013A}" destId="{950BEB79-9E51-9A48-8F3F-D8AA39B8FEAC}" srcOrd="0" destOrd="0" presId="urn:microsoft.com/office/officeart/2005/8/layout/pyramid1"/>
    <dgm:cxn modelId="{DB87F5A6-8B60-9243-9547-88EB0D9EFFC2}" type="presParOf" srcId="{5AB85AEA-8A4C-1D4F-81AE-589820DC013A}" destId="{5DCA89B0-39D5-FA45-BFDA-002224554B71}" srcOrd="1" destOrd="0" presId="urn:microsoft.com/office/officeart/2005/8/layout/pyramid1"/>
    <dgm:cxn modelId="{D33A9B67-23B8-0746-B002-EA89F5D2ACA7}" type="presParOf" srcId="{5AB85AEA-8A4C-1D4F-81AE-589820DC013A}" destId="{BA3223FD-B43B-E54B-8EAE-389351EC7991}" srcOrd="2" destOrd="0" presId="urn:microsoft.com/office/officeart/2005/8/layout/pyramid1"/>
    <dgm:cxn modelId="{18D91167-B099-6F4F-97F8-3D1E5A0FA187}" type="presParOf" srcId="{5AB85AEA-8A4C-1D4F-81AE-589820DC013A}" destId="{10C12A39-9FF6-B84D-B95D-D08CD2118B40}" srcOrd="3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125FD8EB-74DD-0C4A-9658-FD4A31C77866}" type="doc">
      <dgm:prSet loTypeId="urn:microsoft.com/office/officeart/2008/layout/VerticalCurvedList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2F2AAFA9-CF18-0B4C-A53C-966FEC185BBC}">
      <dgm:prSet phldrT="[Text]"/>
      <dgm:spPr/>
      <dgm:t>
        <a:bodyPr/>
        <a:lstStyle/>
        <a:p>
          <a:r>
            <a:rPr lang="en-US" dirty="0">
              <a:latin typeface="+mn-lt"/>
            </a:rPr>
            <a:t>Enterprise</a:t>
          </a:r>
        </a:p>
      </dgm:t>
    </dgm:pt>
    <dgm:pt modelId="{42FDD1C4-BFCB-284E-97FD-4AA260A41035}" type="parTrans" cxnId="{091B5AF8-D76D-1345-9513-E00CE97A7869}">
      <dgm:prSet/>
      <dgm:spPr/>
      <dgm:t>
        <a:bodyPr/>
        <a:lstStyle/>
        <a:p>
          <a:endParaRPr lang="en-US"/>
        </a:p>
      </dgm:t>
    </dgm:pt>
    <dgm:pt modelId="{B79E98DB-74AF-BE4F-B615-A6A426E132C7}" type="sibTrans" cxnId="{091B5AF8-D76D-1345-9513-E00CE97A7869}">
      <dgm:prSet/>
      <dgm:spPr/>
      <dgm:t>
        <a:bodyPr/>
        <a:lstStyle/>
        <a:p>
          <a:endParaRPr lang="en-US"/>
        </a:p>
      </dgm:t>
    </dgm:pt>
    <dgm:pt modelId="{4FEBA5E4-C0C4-E747-A16A-E314EA3EC113}">
      <dgm:prSet phldrT="[Text]"/>
      <dgm:spPr/>
      <dgm:t>
        <a:bodyPr/>
        <a:lstStyle/>
        <a:p>
          <a:r>
            <a:rPr lang="en-US" dirty="0">
              <a:latin typeface="+mn-lt"/>
            </a:rPr>
            <a:t>Site Specific</a:t>
          </a:r>
        </a:p>
      </dgm:t>
    </dgm:pt>
    <dgm:pt modelId="{C56043C5-6AA0-474D-A979-D396C2B95137}" type="parTrans" cxnId="{49378C0C-6B3F-9D4E-ABE3-AE19FD24325D}">
      <dgm:prSet/>
      <dgm:spPr/>
      <dgm:t>
        <a:bodyPr/>
        <a:lstStyle/>
        <a:p>
          <a:endParaRPr lang="en-US"/>
        </a:p>
      </dgm:t>
    </dgm:pt>
    <dgm:pt modelId="{14A48B8D-35E4-E04F-8F65-429DE09B8EAD}" type="sibTrans" cxnId="{49378C0C-6B3F-9D4E-ABE3-AE19FD24325D}">
      <dgm:prSet/>
      <dgm:spPr/>
      <dgm:t>
        <a:bodyPr/>
        <a:lstStyle/>
        <a:p>
          <a:endParaRPr lang="en-US"/>
        </a:p>
      </dgm:t>
    </dgm:pt>
    <dgm:pt modelId="{B599FB90-A663-EF40-B8BC-59BC3F6C2927}">
      <dgm:prSet phldrT="[Text]"/>
      <dgm:spPr/>
      <dgm:t>
        <a:bodyPr/>
        <a:lstStyle/>
        <a:p>
          <a:r>
            <a:rPr lang="en-US" dirty="0">
              <a:latin typeface="+mn-lt"/>
            </a:rPr>
            <a:t>No Changes for the entire Enterprise </a:t>
          </a:r>
        </a:p>
      </dgm:t>
    </dgm:pt>
    <dgm:pt modelId="{1541CAFA-4448-DD49-920B-DE97CC323E11}" type="parTrans" cxnId="{B0C56DFD-BDC3-5245-8C5F-C3C254DEE833}">
      <dgm:prSet/>
      <dgm:spPr/>
      <dgm:t>
        <a:bodyPr/>
        <a:lstStyle/>
        <a:p>
          <a:endParaRPr lang="en-US"/>
        </a:p>
      </dgm:t>
    </dgm:pt>
    <dgm:pt modelId="{344B00D3-9B54-3F43-83C6-11EE15C23D70}" type="sibTrans" cxnId="{B0C56DFD-BDC3-5245-8C5F-C3C254DEE833}">
      <dgm:prSet/>
      <dgm:spPr/>
      <dgm:t>
        <a:bodyPr/>
        <a:lstStyle/>
        <a:p>
          <a:endParaRPr lang="en-US"/>
        </a:p>
      </dgm:t>
    </dgm:pt>
    <dgm:pt modelId="{3BC95F36-EE56-1E47-A122-AC79E74F78FA}">
      <dgm:prSet/>
      <dgm:spPr/>
      <dgm:t>
        <a:bodyPr/>
        <a:lstStyle/>
        <a:p>
          <a:r>
            <a:rPr lang="en-US" dirty="0">
              <a:latin typeface="+mn-lt"/>
            </a:rPr>
            <a:t>No Changes for that Site or any Enterprise Change that impacts that Site</a:t>
          </a:r>
        </a:p>
      </dgm:t>
    </dgm:pt>
    <dgm:pt modelId="{4820B936-25DE-BE4E-8E90-C668D1898B87}" type="parTrans" cxnId="{27E17FB4-F5B5-DE45-B410-502E94CA0C5D}">
      <dgm:prSet/>
      <dgm:spPr/>
      <dgm:t>
        <a:bodyPr/>
        <a:lstStyle/>
        <a:p>
          <a:endParaRPr lang="en-US"/>
        </a:p>
      </dgm:t>
    </dgm:pt>
    <dgm:pt modelId="{167D93D4-63A6-BD44-A8FB-E0EEEFFF0642}" type="sibTrans" cxnId="{27E17FB4-F5B5-DE45-B410-502E94CA0C5D}">
      <dgm:prSet/>
      <dgm:spPr/>
      <dgm:t>
        <a:bodyPr/>
        <a:lstStyle/>
        <a:p>
          <a:endParaRPr lang="en-US"/>
        </a:p>
      </dgm:t>
    </dgm:pt>
    <dgm:pt modelId="{AB0F5DAE-8C87-5740-B525-902ED2BD2A91}" type="pres">
      <dgm:prSet presAssocID="{125FD8EB-74DD-0C4A-9658-FD4A31C77866}" presName="Name0" presStyleCnt="0">
        <dgm:presLayoutVars>
          <dgm:chMax val="7"/>
          <dgm:chPref val="7"/>
          <dgm:dir/>
        </dgm:presLayoutVars>
      </dgm:prSet>
      <dgm:spPr/>
    </dgm:pt>
    <dgm:pt modelId="{C8554A81-D5F5-D345-83D0-86D53BF2FB75}" type="pres">
      <dgm:prSet presAssocID="{125FD8EB-74DD-0C4A-9658-FD4A31C77866}" presName="Name1" presStyleCnt="0"/>
      <dgm:spPr/>
    </dgm:pt>
    <dgm:pt modelId="{29E7E8EC-775C-A345-8EE3-0A35A51B9258}" type="pres">
      <dgm:prSet presAssocID="{125FD8EB-74DD-0C4A-9658-FD4A31C77866}" presName="cycle" presStyleCnt="0"/>
      <dgm:spPr/>
    </dgm:pt>
    <dgm:pt modelId="{C243E6C8-37E5-1440-9344-345152D82BA9}" type="pres">
      <dgm:prSet presAssocID="{125FD8EB-74DD-0C4A-9658-FD4A31C77866}" presName="srcNode" presStyleLbl="node1" presStyleIdx="0" presStyleCnt="2"/>
      <dgm:spPr/>
    </dgm:pt>
    <dgm:pt modelId="{FF32F0A8-E2CB-D744-B9E5-4EE9D7E88FC7}" type="pres">
      <dgm:prSet presAssocID="{125FD8EB-74DD-0C4A-9658-FD4A31C77866}" presName="conn" presStyleLbl="parChTrans1D2" presStyleIdx="0" presStyleCnt="1"/>
      <dgm:spPr/>
    </dgm:pt>
    <dgm:pt modelId="{1AD8F27E-E033-B84D-8235-29108AB72AE6}" type="pres">
      <dgm:prSet presAssocID="{125FD8EB-74DD-0C4A-9658-FD4A31C77866}" presName="extraNode" presStyleLbl="node1" presStyleIdx="0" presStyleCnt="2"/>
      <dgm:spPr/>
    </dgm:pt>
    <dgm:pt modelId="{14700C3B-D04A-9E4F-9BC5-13D420B8BB61}" type="pres">
      <dgm:prSet presAssocID="{125FD8EB-74DD-0C4A-9658-FD4A31C77866}" presName="dstNode" presStyleLbl="node1" presStyleIdx="0" presStyleCnt="2"/>
      <dgm:spPr/>
    </dgm:pt>
    <dgm:pt modelId="{51621B31-8774-1B4F-B4B2-D6498BEA1EC4}" type="pres">
      <dgm:prSet presAssocID="{2F2AAFA9-CF18-0B4C-A53C-966FEC185BBC}" presName="text_1" presStyleLbl="node1" presStyleIdx="0" presStyleCnt="2" custScaleX="101358">
        <dgm:presLayoutVars>
          <dgm:bulletEnabled val="1"/>
        </dgm:presLayoutVars>
      </dgm:prSet>
      <dgm:spPr/>
    </dgm:pt>
    <dgm:pt modelId="{B1BA9307-732A-B043-83FF-212CEABB3EF0}" type="pres">
      <dgm:prSet presAssocID="{2F2AAFA9-CF18-0B4C-A53C-966FEC185BBC}" presName="accent_1" presStyleCnt="0"/>
      <dgm:spPr/>
    </dgm:pt>
    <dgm:pt modelId="{1F64E6AA-6DAB-BF48-8984-113DA30E8ADD}" type="pres">
      <dgm:prSet presAssocID="{2F2AAFA9-CF18-0B4C-A53C-966FEC185BBC}" presName="accentRepeatNode" presStyleLbl="solidFgAcc1" presStyleIdx="0" presStyleCnt="2"/>
      <dgm:spPr/>
    </dgm:pt>
    <dgm:pt modelId="{197DD2C7-52A2-3A44-925B-6B1FE6876595}" type="pres">
      <dgm:prSet presAssocID="{4FEBA5E4-C0C4-E747-A16A-E314EA3EC113}" presName="text_2" presStyleLbl="node1" presStyleIdx="1" presStyleCnt="2" custScaleX="101358">
        <dgm:presLayoutVars>
          <dgm:bulletEnabled val="1"/>
        </dgm:presLayoutVars>
      </dgm:prSet>
      <dgm:spPr/>
    </dgm:pt>
    <dgm:pt modelId="{49C3AEEC-9772-F245-8920-C53D24F3EFD7}" type="pres">
      <dgm:prSet presAssocID="{4FEBA5E4-C0C4-E747-A16A-E314EA3EC113}" presName="accent_2" presStyleCnt="0"/>
      <dgm:spPr/>
    </dgm:pt>
    <dgm:pt modelId="{AE5B7E19-78E3-004B-8F0E-63E1D5616F90}" type="pres">
      <dgm:prSet presAssocID="{4FEBA5E4-C0C4-E747-A16A-E314EA3EC113}" presName="accentRepeatNode" presStyleLbl="solidFgAcc1" presStyleIdx="1" presStyleCnt="2"/>
      <dgm:spPr/>
    </dgm:pt>
  </dgm:ptLst>
  <dgm:cxnLst>
    <dgm:cxn modelId="{49378C0C-6B3F-9D4E-ABE3-AE19FD24325D}" srcId="{125FD8EB-74DD-0C4A-9658-FD4A31C77866}" destId="{4FEBA5E4-C0C4-E747-A16A-E314EA3EC113}" srcOrd="1" destOrd="0" parTransId="{C56043C5-6AA0-474D-A979-D396C2B95137}" sibTransId="{14A48B8D-35E4-E04F-8F65-429DE09B8EAD}"/>
    <dgm:cxn modelId="{AB08A328-DC55-2242-88E7-AF1AA9106E0B}" type="presOf" srcId="{4FEBA5E4-C0C4-E747-A16A-E314EA3EC113}" destId="{197DD2C7-52A2-3A44-925B-6B1FE6876595}" srcOrd="0" destOrd="0" presId="urn:microsoft.com/office/officeart/2008/layout/VerticalCurvedList"/>
    <dgm:cxn modelId="{39383049-BFBA-8548-AEEF-DC75262D73D6}" type="presOf" srcId="{2F2AAFA9-CF18-0B4C-A53C-966FEC185BBC}" destId="{51621B31-8774-1B4F-B4B2-D6498BEA1EC4}" srcOrd="0" destOrd="0" presId="urn:microsoft.com/office/officeart/2008/layout/VerticalCurvedList"/>
    <dgm:cxn modelId="{DDEE739D-0AD2-0945-B4A8-6356D4A162AA}" type="presOf" srcId="{344B00D3-9B54-3F43-83C6-11EE15C23D70}" destId="{FF32F0A8-E2CB-D744-B9E5-4EE9D7E88FC7}" srcOrd="0" destOrd="0" presId="urn:microsoft.com/office/officeart/2008/layout/VerticalCurvedList"/>
    <dgm:cxn modelId="{A627759E-950D-9745-BEE7-5EDD28A90611}" type="presOf" srcId="{B599FB90-A663-EF40-B8BC-59BC3F6C2927}" destId="{51621B31-8774-1B4F-B4B2-D6498BEA1EC4}" srcOrd="0" destOrd="1" presId="urn:microsoft.com/office/officeart/2008/layout/VerticalCurvedList"/>
    <dgm:cxn modelId="{27E17FB4-F5B5-DE45-B410-502E94CA0C5D}" srcId="{4FEBA5E4-C0C4-E747-A16A-E314EA3EC113}" destId="{3BC95F36-EE56-1E47-A122-AC79E74F78FA}" srcOrd="0" destOrd="0" parTransId="{4820B936-25DE-BE4E-8E90-C668D1898B87}" sibTransId="{167D93D4-63A6-BD44-A8FB-E0EEEFFF0642}"/>
    <dgm:cxn modelId="{8A6A97B7-C8EA-6C46-8ECD-014AD48EA03F}" type="presOf" srcId="{3BC95F36-EE56-1E47-A122-AC79E74F78FA}" destId="{197DD2C7-52A2-3A44-925B-6B1FE6876595}" srcOrd="0" destOrd="1" presId="urn:microsoft.com/office/officeart/2008/layout/VerticalCurvedList"/>
    <dgm:cxn modelId="{CF7862CA-51D6-E549-B2E7-6F3ECA393EA6}" type="presOf" srcId="{125FD8EB-74DD-0C4A-9658-FD4A31C77866}" destId="{AB0F5DAE-8C87-5740-B525-902ED2BD2A91}" srcOrd="0" destOrd="0" presId="urn:microsoft.com/office/officeart/2008/layout/VerticalCurvedList"/>
    <dgm:cxn modelId="{091B5AF8-D76D-1345-9513-E00CE97A7869}" srcId="{125FD8EB-74DD-0C4A-9658-FD4A31C77866}" destId="{2F2AAFA9-CF18-0B4C-A53C-966FEC185BBC}" srcOrd="0" destOrd="0" parTransId="{42FDD1C4-BFCB-284E-97FD-4AA260A41035}" sibTransId="{B79E98DB-74AF-BE4F-B615-A6A426E132C7}"/>
    <dgm:cxn modelId="{B0C56DFD-BDC3-5245-8C5F-C3C254DEE833}" srcId="{2F2AAFA9-CF18-0B4C-A53C-966FEC185BBC}" destId="{B599FB90-A663-EF40-B8BC-59BC3F6C2927}" srcOrd="0" destOrd="0" parTransId="{1541CAFA-4448-DD49-920B-DE97CC323E11}" sibTransId="{344B00D3-9B54-3F43-83C6-11EE15C23D70}"/>
    <dgm:cxn modelId="{1099696A-1856-254F-8E90-9DC4388CB8CB}" type="presParOf" srcId="{AB0F5DAE-8C87-5740-B525-902ED2BD2A91}" destId="{C8554A81-D5F5-D345-83D0-86D53BF2FB75}" srcOrd="0" destOrd="0" presId="urn:microsoft.com/office/officeart/2008/layout/VerticalCurvedList"/>
    <dgm:cxn modelId="{370A75C1-A759-4742-A6BD-B17A4D085E4D}" type="presParOf" srcId="{C8554A81-D5F5-D345-83D0-86D53BF2FB75}" destId="{29E7E8EC-775C-A345-8EE3-0A35A51B9258}" srcOrd="0" destOrd="0" presId="urn:microsoft.com/office/officeart/2008/layout/VerticalCurvedList"/>
    <dgm:cxn modelId="{F1246CA6-2CB0-6F42-AD03-7D83A96749CC}" type="presParOf" srcId="{29E7E8EC-775C-A345-8EE3-0A35A51B9258}" destId="{C243E6C8-37E5-1440-9344-345152D82BA9}" srcOrd="0" destOrd="0" presId="urn:microsoft.com/office/officeart/2008/layout/VerticalCurvedList"/>
    <dgm:cxn modelId="{21D5E2CE-681C-E24B-A9B5-07956477F694}" type="presParOf" srcId="{29E7E8EC-775C-A345-8EE3-0A35A51B9258}" destId="{FF32F0A8-E2CB-D744-B9E5-4EE9D7E88FC7}" srcOrd="1" destOrd="0" presId="urn:microsoft.com/office/officeart/2008/layout/VerticalCurvedList"/>
    <dgm:cxn modelId="{72B5EA01-FF0B-C744-A90D-6491CAD40024}" type="presParOf" srcId="{29E7E8EC-775C-A345-8EE3-0A35A51B9258}" destId="{1AD8F27E-E033-B84D-8235-29108AB72AE6}" srcOrd="2" destOrd="0" presId="urn:microsoft.com/office/officeart/2008/layout/VerticalCurvedList"/>
    <dgm:cxn modelId="{E84955D0-F545-9B4F-A849-4D6FE81D93AE}" type="presParOf" srcId="{29E7E8EC-775C-A345-8EE3-0A35A51B9258}" destId="{14700C3B-D04A-9E4F-9BC5-13D420B8BB61}" srcOrd="3" destOrd="0" presId="urn:microsoft.com/office/officeart/2008/layout/VerticalCurvedList"/>
    <dgm:cxn modelId="{56812C29-104F-5349-94C1-7AD1AF15F692}" type="presParOf" srcId="{C8554A81-D5F5-D345-83D0-86D53BF2FB75}" destId="{51621B31-8774-1B4F-B4B2-D6498BEA1EC4}" srcOrd="1" destOrd="0" presId="urn:microsoft.com/office/officeart/2008/layout/VerticalCurvedList"/>
    <dgm:cxn modelId="{841967A0-9F01-B148-8DB2-542208E856A6}" type="presParOf" srcId="{C8554A81-D5F5-D345-83D0-86D53BF2FB75}" destId="{B1BA9307-732A-B043-83FF-212CEABB3EF0}" srcOrd="2" destOrd="0" presId="urn:microsoft.com/office/officeart/2008/layout/VerticalCurvedList"/>
    <dgm:cxn modelId="{34654B30-1D12-9940-8305-1F32FD398C01}" type="presParOf" srcId="{B1BA9307-732A-B043-83FF-212CEABB3EF0}" destId="{1F64E6AA-6DAB-BF48-8984-113DA30E8ADD}" srcOrd="0" destOrd="0" presId="urn:microsoft.com/office/officeart/2008/layout/VerticalCurvedList"/>
    <dgm:cxn modelId="{4403A0C5-F485-D847-838E-787CF029143D}" type="presParOf" srcId="{C8554A81-D5F5-D345-83D0-86D53BF2FB75}" destId="{197DD2C7-52A2-3A44-925B-6B1FE6876595}" srcOrd="3" destOrd="0" presId="urn:microsoft.com/office/officeart/2008/layout/VerticalCurvedList"/>
    <dgm:cxn modelId="{C67333D3-8D74-EF41-A058-D1BC8FDB79CC}" type="presParOf" srcId="{C8554A81-D5F5-D345-83D0-86D53BF2FB75}" destId="{49C3AEEC-9772-F245-8920-C53D24F3EFD7}" srcOrd="4" destOrd="0" presId="urn:microsoft.com/office/officeart/2008/layout/VerticalCurvedList"/>
    <dgm:cxn modelId="{AAB451B2-4964-F74E-A7A6-BFB59C231CF6}" type="presParOf" srcId="{49C3AEEC-9772-F245-8920-C53D24F3EFD7}" destId="{AE5B7E19-78E3-004B-8F0E-63E1D5616F9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AD622BBA-253D-F44B-A69B-1EB1A9177B98}" type="doc">
      <dgm:prSet loTypeId="urn:microsoft.com/office/officeart/2005/8/layout/list1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235B5064-2A2B-4147-88E4-51E2ABA2B822}">
      <dgm:prSet phldrT="[Text]"/>
      <dgm:spPr/>
      <dgm:t>
        <a:bodyPr/>
        <a:lstStyle/>
        <a:p>
          <a:r>
            <a:rPr lang="en-US" dirty="0">
              <a:latin typeface="+mj-lt"/>
            </a:rPr>
            <a:t>Planned</a:t>
          </a:r>
        </a:p>
      </dgm:t>
    </dgm:pt>
    <dgm:pt modelId="{F994ACC9-9BA8-B046-B137-F7FDC415B044}" type="parTrans" cxnId="{12BA5D17-2A3D-254F-A631-16AB82818F28}">
      <dgm:prSet/>
      <dgm:spPr/>
      <dgm:t>
        <a:bodyPr/>
        <a:lstStyle/>
        <a:p>
          <a:endParaRPr lang="en-US"/>
        </a:p>
      </dgm:t>
    </dgm:pt>
    <dgm:pt modelId="{0B917955-B3FD-8643-93E4-D98546770EFD}" type="sibTrans" cxnId="{12BA5D17-2A3D-254F-A631-16AB82818F28}">
      <dgm:prSet/>
      <dgm:spPr/>
      <dgm:t>
        <a:bodyPr/>
        <a:lstStyle/>
        <a:p>
          <a:endParaRPr lang="en-US"/>
        </a:p>
      </dgm:t>
    </dgm:pt>
    <dgm:pt modelId="{B113587B-F783-A34C-B155-8DF99E47AD2D}">
      <dgm:prSet phldrT="[Text]"/>
      <dgm:spPr/>
      <dgm:t>
        <a:bodyPr/>
        <a:lstStyle/>
        <a:p>
          <a:r>
            <a:rPr lang="en-US" dirty="0">
              <a:latin typeface="+mj-lt"/>
            </a:rPr>
            <a:t>Unplanned</a:t>
          </a:r>
        </a:p>
      </dgm:t>
    </dgm:pt>
    <dgm:pt modelId="{2732730B-BFAA-924E-88FE-801994DE5BB5}" type="parTrans" cxnId="{A05C2AA7-E43F-E941-A040-F00AF669DAB4}">
      <dgm:prSet/>
      <dgm:spPr/>
      <dgm:t>
        <a:bodyPr/>
        <a:lstStyle/>
        <a:p>
          <a:endParaRPr lang="en-US"/>
        </a:p>
      </dgm:t>
    </dgm:pt>
    <dgm:pt modelId="{93112CE6-A0F3-BF4B-AD47-50B1DE403861}" type="sibTrans" cxnId="{A05C2AA7-E43F-E941-A040-F00AF669DAB4}">
      <dgm:prSet/>
      <dgm:spPr/>
      <dgm:t>
        <a:bodyPr/>
        <a:lstStyle/>
        <a:p>
          <a:endParaRPr lang="en-US"/>
        </a:p>
      </dgm:t>
    </dgm:pt>
    <dgm:pt modelId="{7F41FBCF-CA23-6841-99DE-BC8FBB2983A4}">
      <dgm:prSet phldrT="[Text]"/>
      <dgm:spPr/>
      <dgm:t>
        <a:bodyPr/>
        <a:lstStyle/>
        <a:p>
          <a:r>
            <a:rPr lang="en-US" dirty="0">
              <a:latin typeface="+mj-lt"/>
            </a:rPr>
            <a:t>Events with large crowds</a:t>
          </a:r>
        </a:p>
      </dgm:t>
    </dgm:pt>
    <dgm:pt modelId="{2A6788AF-0D94-C84C-8C10-AF638E6BB329}" type="parTrans" cxnId="{1EC673E0-9D00-B14B-A6D6-EE34E1B5AE86}">
      <dgm:prSet/>
      <dgm:spPr/>
      <dgm:t>
        <a:bodyPr/>
        <a:lstStyle/>
        <a:p>
          <a:endParaRPr lang="en-US"/>
        </a:p>
      </dgm:t>
    </dgm:pt>
    <dgm:pt modelId="{5E1E0FAD-DE5F-9548-A433-9D1889D17E2C}" type="sibTrans" cxnId="{1EC673E0-9D00-B14B-A6D6-EE34E1B5AE86}">
      <dgm:prSet/>
      <dgm:spPr/>
      <dgm:t>
        <a:bodyPr/>
        <a:lstStyle/>
        <a:p>
          <a:endParaRPr lang="en-US"/>
        </a:p>
      </dgm:t>
    </dgm:pt>
    <dgm:pt modelId="{31128B4D-B0D8-624C-AE52-DD352AD1AF3C}">
      <dgm:prSet phldrT="[Text]"/>
      <dgm:spPr/>
      <dgm:t>
        <a:bodyPr/>
        <a:lstStyle/>
        <a:p>
          <a:r>
            <a:rPr lang="en-US" dirty="0">
              <a:latin typeface="+mj-lt"/>
            </a:rPr>
            <a:t>Critical Application Upgrades</a:t>
          </a:r>
        </a:p>
      </dgm:t>
    </dgm:pt>
    <dgm:pt modelId="{B31177C5-331C-814A-AF54-2346AF35952F}" type="parTrans" cxnId="{E2E1F094-7243-9C46-9618-1969FB2755DF}">
      <dgm:prSet/>
      <dgm:spPr/>
      <dgm:t>
        <a:bodyPr/>
        <a:lstStyle/>
        <a:p>
          <a:endParaRPr lang="en-US"/>
        </a:p>
      </dgm:t>
    </dgm:pt>
    <dgm:pt modelId="{4F4ADC94-2703-EC4B-81FB-87A4B5E5AC62}" type="sibTrans" cxnId="{E2E1F094-7243-9C46-9618-1969FB2755DF}">
      <dgm:prSet/>
      <dgm:spPr/>
      <dgm:t>
        <a:bodyPr/>
        <a:lstStyle/>
        <a:p>
          <a:endParaRPr lang="en-US"/>
        </a:p>
      </dgm:t>
    </dgm:pt>
    <dgm:pt modelId="{3D7BF613-426F-EF46-AFE4-88D177882962}">
      <dgm:prSet phldrT="[Text]"/>
      <dgm:spPr/>
      <dgm:t>
        <a:bodyPr/>
        <a:lstStyle/>
        <a:p>
          <a:r>
            <a:rPr lang="en-US" dirty="0">
              <a:latin typeface="Georgia" panose="02040502050405020303" pitchFamily="18" charset="0"/>
            </a:rPr>
            <a:t>Local Emergency</a:t>
          </a:r>
        </a:p>
      </dgm:t>
    </dgm:pt>
    <dgm:pt modelId="{21F42E39-7ED7-BA40-AA5F-81375B5A99E4}" type="parTrans" cxnId="{FA831150-3176-3549-A508-9C335CA09424}">
      <dgm:prSet/>
      <dgm:spPr/>
      <dgm:t>
        <a:bodyPr/>
        <a:lstStyle/>
        <a:p>
          <a:endParaRPr lang="en-US"/>
        </a:p>
      </dgm:t>
    </dgm:pt>
    <dgm:pt modelId="{A68C8F57-6034-5A48-B128-458A38344295}" type="sibTrans" cxnId="{FA831150-3176-3549-A508-9C335CA09424}">
      <dgm:prSet/>
      <dgm:spPr/>
      <dgm:t>
        <a:bodyPr/>
        <a:lstStyle/>
        <a:p>
          <a:endParaRPr lang="en-US"/>
        </a:p>
      </dgm:t>
    </dgm:pt>
    <dgm:pt modelId="{37D8EFCE-E33A-1E47-85EE-E1AC4A5864D8}">
      <dgm:prSet phldrT="[Text]"/>
      <dgm:spPr/>
      <dgm:t>
        <a:bodyPr/>
        <a:lstStyle/>
        <a:p>
          <a:r>
            <a:rPr lang="en-US" dirty="0">
              <a:latin typeface="Georgia" panose="02040502050405020303" pitchFamily="18" charset="0"/>
            </a:rPr>
            <a:t>Unannounced visits (e.g.: Joint Commission)</a:t>
          </a:r>
        </a:p>
      </dgm:t>
    </dgm:pt>
    <dgm:pt modelId="{88779A63-D26B-2349-8E56-8B80204DB30F}" type="parTrans" cxnId="{A8AAEA15-5958-3745-9680-B6C16EE399B8}">
      <dgm:prSet/>
      <dgm:spPr/>
      <dgm:t>
        <a:bodyPr/>
        <a:lstStyle/>
        <a:p>
          <a:endParaRPr lang="en-US"/>
        </a:p>
      </dgm:t>
    </dgm:pt>
    <dgm:pt modelId="{721A6E91-388C-2247-9D77-A5642B1B79E2}" type="sibTrans" cxnId="{A8AAEA15-5958-3745-9680-B6C16EE399B8}">
      <dgm:prSet/>
      <dgm:spPr/>
      <dgm:t>
        <a:bodyPr/>
        <a:lstStyle/>
        <a:p>
          <a:endParaRPr lang="en-US"/>
        </a:p>
      </dgm:t>
    </dgm:pt>
    <dgm:pt modelId="{BEE70086-38D2-6F4D-A10C-FBC0D65EDB7A}" type="pres">
      <dgm:prSet presAssocID="{AD622BBA-253D-F44B-A69B-1EB1A9177B98}" presName="linear" presStyleCnt="0">
        <dgm:presLayoutVars>
          <dgm:dir/>
          <dgm:animLvl val="lvl"/>
          <dgm:resizeHandles val="exact"/>
        </dgm:presLayoutVars>
      </dgm:prSet>
      <dgm:spPr/>
    </dgm:pt>
    <dgm:pt modelId="{61D15531-BE70-4E40-9EA5-1CF86F574E9B}" type="pres">
      <dgm:prSet presAssocID="{235B5064-2A2B-4147-88E4-51E2ABA2B822}" presName="parentLin" presStyleCnt="0"/>
      <dgm:spPr/>
    </dgm:pt>
    <dgm:pt modelId="{52EB803A-B932-B247-B329-9C087A3D3551}" type="pres">
      <dgm:prSet presAssocID="{235B5064-2A2B-4147-88E4-51E2ABA2B822}" presName="parentLeftMargin" presStyleLbl="node1" presStyleIdx="0" presStyleCnt="2"/>
      <dgm:spPr/>
    </dgm:pt>
    <dgm:pt modelId="{50175B79-F95A-1C4B-A4A2-0C5C5EA8DA47}" type="pres">
      <dgm:prSet presAssocID="{235B5064-2A2B-4147-88E4-51E2ABA2B822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D3656F9B-399E-A940-9155-05127B57923B}" type="pres">
      <dgm:prSet presAssocID="{235B5064-2A2B-4147-88E4-51E2ABA2B822}" presName="negativeSpace" presStyleCnt="0"/>
      <dgm:spPr/>
    </dgm:pt>
    <dgm:pt modelId="{FA55750F-C34A-D34D-A6FE-1EF6FF5F4507}" type="pres">
      <dgm:prSet presAssocID="{235B5064-2A2B-4147-88E4-51E2ABA2B822}" presName="childText" presStyleLbl="conFgAcc1" presStyleIdx="0" presStyleCnt="2">
        <dgm:presLayoutVars>
          <dgm:bulletEnabled val="1"/>
        </dgm:presLayoutVars>
      </dgm:prSet>
      <dgm:spPr/>
    </dgm:pt>
    <dgm:pt modelId="{E9887F6C-EE9C-CA49-8909-9B939C0BEB0A}" type="pres">
      <dgm:prSet presAssocID="{0B917955-B3FD-8643-93E4-D98546770EFD}" presName="spaceBetweenRectangles" presStyleCnt="0"/>
      <dgm:spPr/>
    </dgm:pt>
    <dgm:pt modelId="{AE7A0B47-F963-6749-95CC-017737AD51E8}" type="pres">
      <dgm:prSet presAssocID="{B113587B-F783-A34C-B155-8DF99E47AD2D}" presName="parentLin" presStyleCnt="0"/>
      <dgm:spPr/>
    </dgm:pt>
    <dgm:pt modelId="{CFADDC9B-467D-EC4A-9F0D-9AB99AF004E5}" type="pres">
      <dgm:prSet presAssocID="{B113587B-F783-A34C-B155-8DF99E47AD2D}" presName="parentLeftMargin" presStyleLbl="node1" presStyleIdx="0" presStyleCnt="2"/>
      <dgm:spPr/>
    </dgm:pt>
    <dgm:pt modelId="{698CDA2A-BB42-824E-A0D3-479DBB77266A}" type="pres">
      <dgm:prSet presAssocID="{B113587B-F783-A34C-B155-8DF99E47AD2D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7379E2DD-EE71-234C-BFE4-6C012C973270}" type="pres">
      <dgm:prSet presAssocID="{B113587B-F783-A34C-B155-8DF99E47AD2D}" presName="negativeSpace" presStyleCnt="0"/>
      <dgm:spPr/>
    </dgm:pt>
    <dgm:pt modelId="{4D9BB9F3-5BB3-984A-AA65-42904FF15294}" type="pres">
      <dgm:prSet presAssocID="{B113587B-F783-A34C-B155-8DF99E47AD2D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C2202106-AC7A-754D-AE2F-E254F9BC1294}" type="presOf" srcId="{31128B4D-B0D8-624C-AE52-DD352AD1AF3C}" destId="{FA55750F-C34A-D34D-A6FE-1EF6FF5F4507}" srcOrd="0" destOrd="1" presId="urn:microsoft.com/office/officeart/2005/8/layout/list1"/>
    <dgm:cxn modelId="{A8AAEA15-5958-3745-9680-B6C16EE399B8}" srcId="{B113587B-F783-A34C-B155-8DF99E47AD2D}" destId="{37D8EFCE-E33A-1E47-85EE-E1AC4A5864D8}" srcOrd="1" destOrd="0" parTransId="{88779A63-D26B-2349-8E56-8B80204DB30F}" sibTransId="{721A6E91-388C-2247-9D77-A5642B1B79E2}"/>
    <dgm:cxn modelId="{12BA5D17-2A3D-254F-A631-16AB82818F28}" srcId="{AD622BBA-253D-F44B-A69B-1EB1A9177B98}" destId="{235B5064-2A2B-4147-88E4-51E2ABA2B822}" srcOrd="0" destOrd="0" parTransId="{F994ACC9-9BA8-B046-B137-F7FDC415B044}" sibTransId="{0B917955-B3FD-8643-93E4-D98546770EFD}"/>
    <dgm:cxn modelId="{3D24393D-8778-7348-AB58-023F4E15F480}" type="presOf" srcId="{3D7BF613-426F-EF46-AFE4-88D177882962}" destId="{4D9BB9F3-5BB3-984A-AA65-42904FF15294}" srcOrd="0" destOrd="0" presId="urn:microsoft.com/office/officeart/2005/8/layout/list1"/>
    <dgm:cxn modelId="{FA831150-3176-3549-A508-9C335CA09424}" srcId="{B113587B-F783-A34C-B155-8DF99E47AD2D}" destId="{3D7BF613-426F-EF46-AFE4-88D177882962}" srcOrd="0" destOrd="0" parTransId="{21F42E39-7ED7-BA40-AA5F-81375B5A99E4}" sibTransId="{A68C8F57-6034-5A48-B128-458A38344295}"/>
    <dgm:cxn modelId="{02936986-6CF6-AD48-AFBB-4258E584403E}" type="presOf" srcId="{7F41FBCF-CA23-6841-99DE-BC8FBB2983A4}" destId="{FA55750F-C34A-D34D-A6FE-1EF6FF5F4507}" srcOrd="0" destOrd="0" presId="urn:microsoft.com/office/officeart/2005/8/layout/list1"/>
    <dgm:cxn modelId="{E2E1F094-7243-9C46-9618-1969FB2755DF}" srcId="{235B5064-2A2B-4147-88E4-51E2ABA2B822}" destId="{31128B4D-B0D8-624C-AE52-DD352AD1AF3C}" srcOrd="1" destOrd="0" parTransId="{B31177C5-331C-814A-AF54-2346AF35952F}" sibTransId="{4F4ADC94-2703-EC4B-81FB-87A4B5E5AC62}"/>
    <dgm:cxn modelId="{8805E59F-05BA-E04C-A256-B69AABC45FB9}" type="presOf" srcId="{B113587B-F783-A34C-B155-8DF99E47AD2D}" destId="{CFADDC9B-467D-EC4A-9F0D-9AB99AF004E5}" srcOrd="0" destOrd="0" presId="urn:microsoft.com/office/officeart/2005/8/layout/list1"/>
    <dgm:cxn modelId="{7DA463A6-C333-8E45-80D6-C93C80AAE3BF}" type="presOf" srcId="{235B5064-2A2B-4147-88E4-51E2ABA2B822}" destId="{52EB803A-B932-B247-B329-9C087A3D3551}" srcOrd="0" destOrd="0" presId="urn:microsoft.com/office/officeart/2005/8/layout/list1"/>
    <dgm:cxn modelId="{A05C2AA7-E43F-E941-A040-F00AF669DAB4}" srcId="{AD622BBA-253D-F44B-A69B-1EB1A9177B98}" destId="{B113587B-F783-A34C-B155-8DF99E47AD2D}" srcOrd="1" destOrd="0" parTransId="{2732730B-BFAA-924E-88FE-801994DE5BB5}" sibTransId="{93112CE6-A0F3-BF4B-AD47-50B1DE403861}"/>
    <dgm:cxn modelId="{D1E1E7CD-BD73-354C-9EBC-6DBD335466AC}" type="presOf" srcId="{B113587B-F783-A34C-B155-8DF99E47AD2D}" destId="{698CDA2A-BB42-824E-A0D3-479DBB77266A}" srcOrd="1" destOrd="0" presId="urn:microsoft.com/office/officeart/2005/8/layout/list1"/>
    <dgm:cxn modelId="{9225A6D0-4915-5B41-9C90-CBBD3D52F7BE}" type="presOf" srcId="{37D8EFCE-E33A-1E47-85EE-E1AC4A5864D8}" destId="{4D9BB9F3-5BB3-984A-AA65-42904FF15294}" srcOrd="0" destOrd="1" presId="urn:microsoft.com/office/officeart/2005/8/layout/list1"/>
    <dgm:cxn modelId="{F268F5D5-13D7-8849-8EB7-78BE187DB222}" type="presOf" srcId="{235B5064-2A2B-4147-88E4-51E2ABA2B822}" destId="{50175B79-F95A-1C4B-A4A2-0C5C5EA8DA47}" srcOrd="1" destOrd="0" presId="urn:microsoft.com/office/officeart/2005/8/layout/list1"/>
    <dgm:cxn modelId="{1EC673E0-9D00-B14B-A6D6-EE34E1B5AE86}" srcId="{235B5064-2A2B-4147-88E4-51E2ABA2B822}" destId="{7F41FBCF-CA23-6841-99DE-BC8FBB2983A4}" srcOrd="0" destOrd="0" parTransId="{2A6788AF-0D94-C84C-8C10-AF638E6BB329}" sibTransId="{5E1E0FAD-DE5F-9548-A433-9D1889D17E2C}"/>
    <dgm:cxn modelId="{BBB05FE6-ABD8-1448-A32A-E10D13393A22}" type="presOf" srcId="{AD622BBA-253D-F44B-A69B-1EB1A9177B98}" destId="{BEE70086-38D2-6F4D-A10C-FBC0D65EDB7A}" srcOrd="0" destOrd="0" presId="urn:microsoft.com/office/officeart/2005/8/layout/list1"/>
    <dgm:cxn modelId="{35324EDC-6B48-504F-8363-550C278E00DC}" type="presParOf" srcId="{BEE70086-38D2-6F4D-A10C-FBC0D65EDB7A}" destId="{61D15531-BE70-4E40-9EA5-1CF86F574E9B}" srcOrd="0" destOrd="0" presId="urn:microsoft.com/office/officeart/2005/8/layout/list1"/>
    <dgm:cxn modelId="{A294DA15-3B26-F54A-92B8-4821BE687D66}" type="presParOf" srcId="{61D15531-BE70-4E40-9EA5-1CF86F574E9B}" destId="{52EB803A-B932-B247-B329-9C087A3D3551}" srcOrd="0" destOrd="0" presId="urn:microsoft.com/office/officeart/2005/8/layout/list1"/>
    <dgm:cxn modelId="{8E79BA73-B7BF-D14F-9CB9-E618F67F152E}" type="presParOf" srcId="{61D15531-BE70-4E40-9EA5-1CF86F574E9B}" destId="{50175B79-F95A-1C4B-A4A2-0C5C5EA8DA47}" srcOrd="1" destOrd="0" presId="urn:microsoft.com/office/officeart/2005/8/layout/list1"/>
    <dgm:cxn modelId="{DAD895D4-31AB-2C4E-B072-764E6EF8B95F}" type="presParOf" srcId="{BEE70086-38D2-6F4D-A10C-FBC0D65EDB7A}" destId="{D3656F9B-399E-A940-9155-05127B57923B}" srcOrd="1" destOrd="0" presId="urn:microsoft.com/office/officeart/2005/8/layout/list1"/>
    <dgm:cxn modelId="{C64C4ABE-4B6C-3E40-A2C2-D9E1C14801C4}" type="presParOf" srcId="{BEE70086-38D2-6F4D-A10C-FBC0D65EDB7A}" destId="{FA55750F-C34A-D34D-A6FE-1EF6FF5F4507}" srcOrd="2" destOrd="0" presId="urn:microsoft.com/office/officeart/2005/8/layout/list1"/>
    <dgm:cxn modelId="{A8F533CA-F532-CC4B-8660-F29DD89C94D2}" type="presParOf" srcId="{BEE70086-38D2-6F4D-A10C-FBC0D65EDB7A}" destId="{E9887F6C-EE9C-CA49-8909-9B939C0BEB0A}" srcOrd="3" destOrd="0" presId="urn:microsoft.com/office/officeart/2005/8/layout/list1"/>
    <dgm:cxn modelId="{530D1213-F839-B24A-9DF6-562665AC3DED}" type="presParOf" srcId="{BEE70086-38D2-6F4D-A10C-FBC0D65EDB7A}" destId="{AE7A0B47-F963-6749-95CC-017737AD51E8}" srcOrd="4" destOrd="0" presId="urn:microsoft.com/office/officeart/2005/8/layout/list1"/>
    <dgm:cxn modelId="{035E712B-F5B1-4841-8043-B6FB7E413139}" type="presParOf" srcId="{AE7A0B47-F963-6749-95CC-017737AD51E8}" destId="{CFADDC9B-467D-EC4A-9F0D-9AB99AF004E5}" srcOrd="0" destOrd="0" presId="urn:microsoft.com/office/officeart/2005/8/layout/list1"/>
    <dgm:cxn modelId="{B6F2DFA1-9F19-784E-9909-77CDD7BD7D00}" type="presParOf" srcId="{AE7A0B47-F963-6749-95CC-017737AD51E8}" destId="{698CDA2A-BB42-824E-A0D3-479DBB77266A}" srcOrd="1" destOrd="0" presId="urn:microsoft.com/office/officeart/2005/8/layout/list1"/>
    <dgm:cxn modelId="{94C86792-8609-8B4D-BFBA-CAC0EC2AFFE8}" type="presParOf" srcId="{BEE70086-38D2-6F4D-A10C-FBC0D65EDB7A}" destId="{7379E2DD-EE71-234C-BFE4-6C012C973270}" srcOrd="5" destOrd="0" presId="urn:microsoft.com/office/officeart/2005/8/layout/list1"/>
    <dgm:cxn modelId="{3F0E4CDE-A0CA-A34E-AA76-29A558442005}" type="presParOf" srcId="{BEE70086-38D2-6F4D-A10C-FBC0D65EDB7A}" destId="{4D9BB9F3-5BB3-984A-AA65-42904FF15294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FC1812-8C1D-49E8-8AC9-DA377C3E42FF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43237B7-701C-435F-95C1-43680210912A}">
      <dgm:prSet phldrT="[Text]"/>
      <dgm:spPr>
        <a:solidFill>
          <a:srgbClr val="00B0F0"/>
        </a:solidFill>
        <a:ln w="3175">
          <a:solidFill>
            <a:schemeClr val="bg1">
              <a:lumMod val="95000"/>
            </a:schemeClr>
          </a:solidFill>
        </a:ln>
      </dgm:spPr>
      <dgm:t>
        <a:bodyPr/>
        <a:lstStyle/>
        <a:p>
          <a:r>
            <a:rPr lang="en-US">
              <a:latin typeface="Century Gothic" pitchFamily="34" charset="0"/>
            </a:rPr>
            <a:t>Mission</a:t>
          </a:r>
        </a:p>
      </dgm:t>
    </dgm:pt>
    <dgm:pt modelId="{E16EA2B0-7E86-4DF6-BBE6-C2724F7906EA}" type="parTrans" cxnId="{89ED15B1-B863-467E-B966-5AA2D4E45646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CF891CD9-25B6-4FB3-BBF0-01A9BE5712D1}" type="sibTrans" cxnId="{89ED15B1-B863-467E-B966-5AA2D4E45646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57AD8A1E-014C-453B-AD97-8E7734F4DF67}">
      <dgm:prSet phldrT="[Text]"/>
      <dgm:spPr>
        <a:solidFill>
          <a:srgbClr val="92D050"/>
        </a:solidFill>
        <a:ln w="3175">
          <a:solidFill>
            <a:schemeClr val="bg1">
              <a:lumMod val="95000"/>
            </a:schemeClr>
          </a:solidFill>
        </a:ln>
      </dgm:spPr>
      <dgm:t>
        <a:bodyPr/>
        <a:lstStyle/>
        <a:p>
          <a:r>
            <a:rPr lang="en-US">
              <a:solidFill>
                <a:schemeClr val="tx1">
                  <a:lumMod val="85000"/>
                  <a:lumOff val="15000"/>
                </a:schemeClr>
              </a:solidFill>
              <a:latin typeface="Century Gothic" pitchFamily="34" charset="0"/>
            </a:rPr>
            <a:t>Patient Care</a:t>
          </a:r>
        </a:p>
      </dgm:t>
    </dgm:pt>
    <dgm:pt modelId="{3B794DCE-B146-4737-B395-9DB36064A9E5}" type="parTrans" cxnId="{53A812E1-2D67-4F01-9137-A71271FA8D96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52AE0B9E-75C7-4B7E-A5EE-54FB585D1BA3}" type="sibTrans" cxnId="{53A812E1-2D67-4F01-9137-A71271FA8D96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F3F0F197-01C7-4520-AC2A-A4CAE89E741B}">
      <dgm:prSet phldrT="[Text]"/>
      <dgm:spPr>
        <a:solidFill>
          <a:srgbClr val="FFB645"/>
        </a:solidFill>
        <a:ln w="3175">
          <a:solidFill>
            <a:schemeClr val="bg1">
              <a:lumMod val="95000"/>
            </a:schemeClr>
          </a:solidFill>
        </a:ln>
      </dgm:spPr>
      <dgm:t>
        <a:bodyPr/>
        <a:lstStyle/>
        <a:p>
          <a:r>
            <a:rPr lang="en-US">
              <a:solidFill>
                <a:schemeClr val="tx1">
                  <a:lumMod val="85000"/>
                  <a:lumOff val="15000"/>
                </a:schemeClr>
              </a:solidFill>
              <a:latin typeface="Century Gothic" pitchFamily="34" charset="0"/>
            </a:rPr>
            <a:t>Discovery</a:t>
          </a:r>
        </a:p>
      </dgm:t>
    </dgm:pt>
    <dgm:pt modelId="{7B0A804B-3029-4155-8271-45E99F4CC1FE}" type="parTrans" cxnId="{64048241-4818-4D57-86FF-C98BDAEFB676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C8D87BE6-D2C5-4606-BED5-83D58FD30FE7}" type="sibTrans" cxnId="{64048241-4818-4D57-86FF-C98BDAEFB676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9A3CAEBE-F0B4-417D-BFC7-BD98B35BDE59}">
      <dgm:prSet phldrT="[Text]" custT="1"/>
      <dgm:spPr>
        <a:solidFill>
          <a:srgbClr val="FF535E"/>
        </a:solidFill>
        <a:ln w="3175">
          <a:solidFill>
            <a:schemeClr val="bg1">
              <a:lumMod val="95000"/>
            </a:schemeClr>
          </a:solidFill>
        </a:ln>
      </dgm:spPr>
      <dgm:t>
        <a:bodyPr/>
        <a:lstStyle/>
        <a:p>
          <a:r>
            <a:rPr lang="en-US" sz="1000">
              <a:solidFill>
                <a:schemeClr val="tx1">
                  <a:lumMod val="85000"/>
                  <a:lumOff val="15000"/>
                </a:schemeClr>
              </a:solidFill>
              <a:latin typeface="Century Gothic" pitchFamily="34" charset="0"/>
            </a:rPr>
            <a:t>Community</a:t>
          </a:r>
        </a:p>
      </dgm:t>
    </dgm:pt>
    <dgm:pt modelId="{EF571E6D-6502-4D01-9138-DCC7519EE617}" type="parTrans" cxnId="{ABEEA2DD-D359-4EDA-8756-5706595D2CBC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C8E245E1-33F4-483C-B7D8-17014B949DFA}" type="sibTrans" cxnId="{ABEEA2DD-D359-4EDA-8756-5706595D2CBC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F7E78834-8522-4B98-B040-9F85D7BAC358}">
      <dgm:prSet phldrT="[Text]"/>
      <dgm:spPr>
        <a:solidFill>
          <a:srgbClr val="6CEAFF"/>
        </a:solidFill>
        <a:ln w="3175">
          <a:solidFill>
            <a:schemeClr val="bg1">
              <a:lumMod val="95000"/>
            </a:schemeClr>
          </a:solidFill>
        </a:ln>
      </dgm:spPr>
      <dgm:t>
        <a:bodyPr/>
        <a:lstStyle/>
        <a:p>
          <a:r>
            <a:rPr lang="en-US">
              <a:solidFill>
                <a:schemeClr val="tx1">
                  <a:lumMod val="85000"/>
                  <a:lumOff val="15000"/>
                </a:schemeClr>
              </a:solidFill>
              <a:latin typeface="Century Gothic" pitchFamily="34" charset="0"/>
            </a:rPr>
            <a:t>Teaching</a:t>
          </a:r>
        </a:p>
      </dgm:t>
    </dgm:pt>
    <dgm:pt modelId="{69033A5A-D9D2-4C60-A355-638FC7537CFF}" type="parTrans" cxnId="{DDE6FD56-CD57-41AF-B1E7-389F97EE9AB3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3C9CB591-B484-4AB6-BD99-567F8BFFA481}" type="sibTrans" cxnId="{DDE6FD56-CD57-41AF-B1E7-389F97EE9AB3}">
      <dgm:prSet/>
      <dgm:spPr/>
      <dgm:t>
        <a:bodyPr/>
        <a:lstStyle/>
        <a:p>
          <a:endParaRPr lang="en-US">
            <a:latin typeface="Century Gothic" pitchFamily="34" charset="0"/>
          </a:endParaRPr>
        </a:p>
      </dgm:t>
    </dgm:pt>
    <dgm:pt modelId="{D9DFF997-92ED-4EA9-A382-3202802EA1C9}" type="pres">
      <dgm:prSet presAssocID="{AFFC1812-8C1D-49E8-8AC9-DA377C3E42FF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18A2C066-DDB1-415A-8358-27CB76D4B56F}" type="pres">
      <dgm:prSet presAssocID="{D43237B7-701C-435F-95C1-43680210912A}" presName="centerShape" presStyleLbl="node0" presStyleIdx="0" presStyleCnt="1" custScaleX="119466" custScaleY="119466"/>
      <dgm:spPr/>
    </dgm:pt>
    <dgm:pt modelId="{E649D2A9-79F8-48E9-8A9F-8F6BC8B0C19F}" type="pres">
      <dgm:prSet presAssocID="{3B794DCE-B146-4737-B395-9DB36064A9E5}" presName="Name9" presStyleLbl="parChTrans1D2" presStyleIdx="0" presStyleCnt="4"/>
      <dgm:spPr/>
    </dgm:pt>
    <dgm:pt modelId="{0B276351-5BF3-4265-B46B-6F16F52329DA}" type="pres">
      <dgm:prSet presAssocID="{3B794DCE-B146-4737-B395-9DB36064A9E5}" presName="connTx" presStyleLbl="parChTrans1D2" presStyleIdx="0" presStyleCnt="4"/>
      <dgm:spPr/>
    </dgm:pt>
    <dgm:pt modelId="{F1D4B52A-54DD-40EB-92A4-DAC473BEF443}" type="pres">
      <dgm:prSet presAssocID="{57AD8A1E-014C-453B-AD97-8E7734F4DF67}" presName="node" presStyleLbl="node1" presStyleIdx="0" presStyleCnt="4">
        <dgm:presLayoutVars>
          <dgm:bulletEnabled val="1"/>
        </dgm:presLayoutVars>
      </dgm:prSet>
      <dgm:spPr/>
    </dgm:pt>
    <dgm:pt modelId="{9A617312-6C07-4CC0-A5D3-BE5EF2B75DE7}" type="pres">
      <dgm:prSet presAssocID="{7B0A804B-3029-4155-8271-45E99F4CC1FE}" presName="Name9" presStyleLbl="parChTrans1D2" presStyleIdx="1" presStyleCnt="4"/>
      <dgm:spPr/>
    </dgm:pt>
    <dgm:pt modelId="{FD274BFE-0650-447B-AD47-DA3144520374}" type="pres">
      <dgm:prSet presAssocID="{7B0A804B-3029-4155-8271-45E99F4CC1FE}" presName="connTx" presStyleLbl="parChTrans1D2" presStyleIdx="1" presStyleCnt="4"/>
      <dgm:spPr/>
    </dgm:pt>
    <dgm:pt modelId="{62126F48-E035-4309-842C-25A632A3B543}" type="pres">
      <dgm:prSet presAssocID="{F3F0F197-01C7-4520-AC2A-A4CAE89E741B}" presName="node" presStyleLbl="node1" presStyleIdx="1" presStyleCnt="4">
        <dgm:presLayoutVars>
          <dgm:bulletEnabled val="1"/>
        </dgm:presLayoutVars>
      </dgm:prSet>
      <dgm:spPr/>
    </dgm:pt>
    <dgm:pt modelId="{128884E2-0635-4AAB-9232-A8FE91102401}" type="pres">
      <dgm:prSet presAssocID="{EF571E6D-6502-4D01-9138-DCC7519EE617}" presName="Name9" presStyleLbl="parChTrans1D2" presStyleIdx="2" presStyleCnt="4"/>
      <dgm:spPr/>
    </dgm:pt>
    <dgm:pt modelId="{2AE199E2-979E-4F08-A6C5-51724D563BC9}" type="pres">
      <dgm:prSet presAssocID="{EF571E6D-6502-4D01-9138-DCC7519EE617}" presName="connTx" presStyleLbl="parChTrans1D2" presStyleIdx="2" presStyleCnt="4"/>
      <dgm:spPr/>
    </dgm:pt>
    <dgm:pt modelId="{D843B987-359F-46A5-B5B9-4EBED4FBC8F7}" type="pres">
      <dgm:prSet presAssocID="{9A3CAEBE-F0B4-417D-BFC7-BD98B35BDE59}" presName="node" presStyleLbl="node1" presStyleIdx="2" presStyleCnt="4">
        <dgm:presLayoutVars>
          <dgm:bulletEnabled val="1"/>
        </dgm:presLayoutVars>
      </dgm:prSet>
      <dgm:spPr/>
    </dgm:pt>
    <dgm:pt modelId="{43FDA0DD-FFA4-4E62-B80C-D5E4F1E66551}" type="pres">
      <dgm:prSet presAssocID="{69033A5A-D9D2-4C60-A355-638FC7537CFF}" presName="Name9" presStyleLbl="parChTrans1D2" presStyleIdx="3" presStyleCnt="4"/>
      <dgm:spPr/>
    </dgm:pt>
    <dgm:pt modelId="{5C163FC4-C969-4B55-99B6-31F9850F2D43}" type="pres">
      <dgm:prSet presAssocID="{69033A5A-D9D2-4C60-A355-638FC7537CFF}" presName="connTx" presStyleLbl="parChTrans1D2" presStyleIdx="3" presStyleCnt="4"/>
      <dgm:spPr/>
    </dgm:pt>
    <dgm:pt modelId="{2C7C5245-DB23-4CCB-92F4-679E85D97A1C}" type="pres">
      <dgm:prSet presAssocID="{F7E78834-8522-4B98-B040-9F85D7BAC358}" presName="node" presStyleLbl="node1" presStyleIdx="3" presStyleCnt="4">
        <dgm:presLayoutVars>
          <dgm:bulletEnabled val="1"/>
        </dgm:presLayoutVars>
      </dgm:prSet>
      <dgm:spPr/>
    </dgm:pt>
  </dgm:ptLst>
  <dgm:cxnLst>
    <dgm:cxn modelId="{084C7818-B19D-41C9-89C0-AF52A2C70A08}" type="presOf" srcId="{EF571E6D-6502-4D01-9138-DCC7519EE617}" destId="{128884E2-0635-4AAB-9232-A8FE91102401}" srcOrd="0" destOrd="0" presId="urn:microsoft.com/office/officeart/2005/8/layout/radial1"/>
    <dgm:cxn modelId="{46A32F1F-0417-4648-A5E5-C12E2B9CF618}" type="presOf" srcId="{69033A5A-D9D2-4C60-A355-638FC7537CFF}" destId="{5C163FC4-C969-4B55-99B6-31F9850F2D43}" srcOrd="1" destOrd="0" presId="urn:microsoft.com/office/officeart/2005/8/layout/radial1"/>
    <dgm:cxn modelId="{CA78FB1F-C45B-49CF-845E-E79DBE8D8060}" type="presOf" srcId="{3B794DCE-B146-4737-B395-9DB36064A9E5}" destId="{0B276351-5BF3-4265-B46B-6F16F52329DA}" srcOrd="1" destOrd="0" presId="urn:microsoft.com/office/officeart/2005/8/layout/radial1"/>
    <dgm:cxn modelId="{07645A34-52D3-49FC-8C64-6E876251F9F6}" type="presOf" srcId="{D43237B7-701C-435F-95C1-43680210912A}" destId="{18A2C066-DDB1-415A-8358-27CB76D4B56F}" srcOrd="0" destOrd="0" presId="urn:microsoft.com/office/officeart/2005/8/layout/radial1"/>
    <dgm:cxn modelId="{D861D237-7E92-435E-A196-30892EC2CBE0}" type="presOf" srcId="{EF571E6D-6502-4D01-9138-DCC7519EE617}" destId="{2AE199E2-979E-4F08-A6C5-51724D563BC9}" srcOrd="1" destOrd="0" presId="urn:microsoft.com/office/officeart/2005/8/layout/radial1"/>
    <dgm:cxn modelId="{64048241-4818-4D57-86FF-C98BDAEFB676}" srcId="{D43237B7-701C-435F-95C1-43680210912A}" destId="{F3F0F197-01C7-4520-AC2A-A4CAE89E741B}" srcOrd="1" destOrd="0" parTransId="{7B0A804B-3029-4155-8271-45E99F4CC1FE}" sibTransId="{C8D87BE6-D2C5-4606-BED5-83D58FD30FE7}"/>
    <dgm:cxn modelId="{39007F69-19AA-4DFC-AE7B-D0AD3F1715FE}" type="presOf" srcId="{7B0A804B-3029-4155-8271-45E99F4CC1FE}" destId="{FD274BFE-0650-447B-AD47-DA3144520374}" srcOrd="1" destOrd="0" presId="urn:microsoft.com/office/officeart/2005/8/layout/radial1"/>
    <dgm:cxn modelId="{BDC8194A-B5C5-4A85-80D1-185B572D1613}" type="presOf" srcId="{3B794DCE-B146-4737-B395-9DB36064A9E5}" destId="{E649D2A9-79F8-48E9-8A9F-8F6BC8B0C19F}" srcOrd="0" destOrd="0" presId="urn:microsoft.com/office/officeart/2005/8/layout/radial1"/>
    <dgm:cxn modelId="{DDE6FD56-CD57-41AF-B1E7-389F97EE9AB3}" srcId="{D43237B7-701C-435F-95C1-43680210912A}" destId="{F7E78834-8522-4B98-B040-9F85D7BAC358}" srcOrd="3" destOrd="0" parTransId="{69033A5A-D9D2-4C60-A355-638FC7537CFF}" sibTransId="{3C9CB591-B484-4AB6-BD99-567F8BFFA481}"/>
    <dgm:cxn modelId="{F6D0B49E-23DF-4930-9011-ADEF17195643}" type="presOf" srcId="{AFFC1812-8C1D-49E8-8AC9-DA377C3E42FF}" destId="{D9DFF997-92ED-4EA9-A382-3202802EA1C9}" srcOrd="0" destOrd="0" presId="urn:microsoft.com/office/officeart/2005/8/layout/radial1"/>
    <dgm:cxn modelId="{89ED15B1-B863-467E-B966-5AA2D4E45646}" srcId="{AFFC1812-8C1D-49E8-8AC9-DA377C3E42FF}" destId="{D43237B7-701C-435F-95C1-43680210912A}" srcOrd="0" destOrd="0" parTransId="{E16EA2B0-7E86-4DF6-BBE6-C2724F7906EA}" sibTransId="{CF891CD9-25B6-4FB3-BBF0-01A9BE5712D1}"/>
    <dgm:cxn modelId="{1FF111CE-AA43-4992-84BA-D9C03733741A}" type="presOf" srcId="{F3F0F197-01C7-4520-AC2A-A4CAE89E741B}" destId="{62126F48-E035-4309-842C-25A632A3B543}" srcOrd="0" destOrd="0" presId="urn:microsoft.com/office/officeart/2005/8/layout/radial1"/>
    <dgm:cxn modelId="{139F7AD3-D581-4A7B-97F8-FE1112B66EC0}" type="presOf" srcId="{9A3CAEBE-F0B4-417D-BFC7-BD98B35BDE59}" destId="{D843B987-359F-46A5-B5B9-4EBED4FBC8F7}" srcOrd="0" destOrd="0" presId="urn:microsoft.com/office/officeart/2005/8/layout/radial1"/>
    <dgm:cxn modelId="{ABEEA2DD-D359-4EDA-8756-5706595D2CBC}" srcId="{D43237B7-701C-435F-95C1-43680210912A}" destId="{9A3CAEBE-F0B4-417D-BFC7-BD98B35BDE59}" srcOrd="2" destOrd="0" parTransId="{EF571E6D-6502-4D01-9138-DCC7519EE617}" sibTransId="{C8E245E1-33F4-483C-B7D8-17014B949DFA}"/>
    <dgm:cxn modelId="{53A812E1-2D67-4F01-9137-A71271FA8D96}" srcId="{D43237B7-701C-435F-95C1-43680210912A}" destId="{57AD8A1E-014C-453B-AD97-8E7734F4DF67}" srcOrd="0" destOrd="0" parTransId="{3B794DCE-B146-4737-B395-9DB36064A9E5}" sibTransId="{52AE0B9E-75C7-4B7E-A5EE-54FB585D1BA3}"/>
    <dgm:cxn modelId="{1A7E09ED-641F-43AA-8DA2-E530149F272A}" type="presOf" srcId="{69033A5A-D9D2-4C60-A355-638FC7537CFF}" destId="{43FDA0DD-FFA4-4E62-B80C-D5E4F1E66551}" srcOrd="0" destOrd="0" presId="urn:microsoft.com/office/officeart/2005/8/layout/radial1"/>
    <dgm:cxn modelId="{587C34EF-9151-4C5B-BE27-40FEDD2DE166}" type="presOf" srcId="{57AD8A1E-014C-453B-AD97-8E7734F4DF67}" destId="{F1D4B52A-54DD-40EB-92A4-DAC473BEF443}" srcOrd="0" destOrd="0" presId="urn:microsoft.com/office/officeart/2005/8/layout/radial1"/>
    <dgm:cxn modelId="{8BA842F5-5FD9-44E1-AD94-BFB2947745FA}" type="presOf" srcId="{7B0A804B-3029-4155-8271-45E99F4CC1FE}" destId="{9A617312-6C07-4CC0-A5D3-BE5EF2B75DE7}" srcOrd="0" destOrd="0" presId="urn:microsoft.com/office/officeart/2005/8/layout/radial1"/>
    <dgm:cxn modelId="{0FFBB9FC-9E86-45FE-B569-55E10ABA51B5}" type="presOf" srcId="{F7E78834-8522-4B98-B040-9F85D7BAC358}" destId="{2C7C5245-DB23-4CCB-92F4-679E85D97A1C}" srcOrd="0" destOrd="0" presId="urn:microsoft.com/office/officeart/2005/8/layout/radial1"/>
    <dgm:cxn modelId="{2A7AB3BA-D074-4BD9-ABF8-D9E2EABC2F39}" type="presParOf" srcId="{D9DFF997-92ED-4EA9-A382-3202802EA1C9}" destId="{18A2C066-DDB1-415A-8358-27CB76D4B56F}" srcOrd="0" destOrd="0" presId="urn:microsoft.com/office/officeart/2005/8/layout/radial1"/>
    <dgm:cxn modelId="{600EC53F-2DA1-4523-97FC-F2E5310D6F31}" type="presParOf" srcId="{D9DFF997-92ED-4EA9-A382-3202802EA1C9}" destId="{E649D2A9-79F8-48E9-8A9F-8F6BC8B0C19F}" srcOrd="1" destOrd="0" presId="urn:microsoft.com/office/officeart/2005/8/layout/radial1"/>
    <dgm:cxn modelId="{4E8F334E-DF60-4360-B106-254923B4A5F9}" type="presParOf" srcId="{E649D2A9-79F8-48E9-8A9F-8F6BC8B0C19F}" destId="{0B276351-5BF3-4265-B46B-6F16F52329DA}" srcOrd="0" destOrd="0" presId="urn:microsoft.com/office/officeart/2005/8/layout/radial1"/>
    <dgm:cxn modelId="{AAE4081A-6486-4B24-AA01-D450BB8846C8}" type="presParOf" srcId="{D9DFF997-92ED-4EA9-A382-3202802EA1C9}" destId="{F1D4B52A-54DD-40EB-92A4-DAC473BEF443}" srcOrd="2" destOrd="0" presId="urn:microsoft.com/office/officeart/2005/8/layout/radial1"/>
    <dgm:cxn modelId="{8E2AB7C3-6611-457D-BC75-6ACAD7799B0E}" type="presParOf" srcId="{D9DFF997-92ED-4EA9-A382-3202802EA1C9}" destId="{9A617312-6C07-4CC0-A5D3-BE5EF2B75DE7}" srcOrd="3" destOrd="0" presId="urn:microsoft.com/office/officeart/2005/8/layout/radial1"/>
    <dgm:cxn modelId="{1A0F09FE-4171-43B0-A38A-EC692EEBD2C8}" type="presParOf" srcId="{9A617312-6C07-4CC0-A5D3-BE5EF2B75DE7}" destId="{FD274BFE-0650-447B-AD47-DA3144520374}" srcOrd="0" destOrd="0" presId="urn:microsoft.com/office/officeart/2005/8/layout/radial1"/>
    <dgm:cxn modelId="{101774DE-E3F4-4A19-B1C4-A1E8546A3156}" type="presParOf" srcId="{D9DFF997-92ED-4EA9-A382-3202802EA1C9}" destId="{62126F48-E035-4309-842C-25A632A3B543}" srcOrd="4" destOrd="0" presId="urn:microsoft.com/office/officeart/2005/8/layout/radial1"/>
    <dgm:cxn modelId="{48907409-C869-41EB-813A-EA5178B7A4F2}" type="presParOf" srcId="{D9DFF997-92ED-4EA9-A382-3202802EA1C9}" destId="{128884E2-0635-4AAB-9232-A8FE91102401}" srcOrd="5" destOrd="0" presId="urn:microsoft.com/office/officeart/2005/8/layout/radial1"/>
    <dgm:cxn modelId="{2F248368-A85C-44F4-8B35-C65F3B8D6533}" type="presParOf" srcId="{128884E2-0635-4AAB-9232-A8FE91102401}" destId="{2AE199E2-979E-4F08-A6C5-51724D563BC9}" srcOrd="0" destOrd="0" presId="urn:microsoft.com/office/officeart/2005/8/layout/radial1"/>
    <dgm:cxn modelId="{0C9BE4F3-B891-400C-B7BF-6176960C0F6C}" type="presParOf" srcId="{D9DFF997-92ED-4EA9-A382-3202802EA1C9}" destId="{D843B987-359F-46A5-B5B9-4EBED4FBC8F7}" srcOrd="6" destOrd="0" presId="urn:microsoft.com/office/officeart/2005/8/layout/radial1"/>
    <dgm:cxn modelId="{D151CD78-4D23-4D09-9522-84027778675D}" type="presParOf" srcId="{D9DFF997-92ED-4EA9-A382-3202802EA1C9}" destId="{43FDA0DD-FFA4-4E62-B80C-D5E4F1E66551}" srcOrd="7" destOrd="0" presId="urn:microsoft.com/office/officeart/2005/8/layout/radial1"/>
    <dgm:cxn modelId="{50DFBAC6-F8BA-42C3-AEC0-A40A06A3EB5C}" type="presParOf" srcId="{43FDA0DD-FFA4-4E62-B80C-D5E4F1E66551}" destId="{5C163FC4-C969-4B55-99B6-31F9850F2D43}" srcOrd="0" destOrd="0" presId="urn:microsoft.com/office/officeart/2005/8/layout/radial1"/>
    <dgm:cxn modelId="{343D88D5-94A7-4270-AA26-9D0072F3EBCC}" type="presParOf" srcId="{D9DFF997-92ED-4EA9-A382-3202802EA1C9}" destId="{2C7C5245-DB23-4CCB-92F4-679E85D97A1C}" srcOrd="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D54EB0E-F99C-ED43-B4EF-1B9951FCFCA1}" type="doc">
      <dgm:prSet loTypeId="urn:microsoft.com/office/officeart/2005/8/layout/vList5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6D270FF6-6231-1341-8E3B-EEDE992ECDC4}">
      <dgm:prSet phldrT="[Text]"/>
      <dgm:spPr/>
      <dgm:t>
        <a:bodyPr/>
        <a:lstStyle/>
        <a:p>
          <a:r>
            <a:rPr lang="en-US" dirty="0">
              <a:latin typeface="+mn-lt"/>
            </a:rPr>
            <a:t>Normal</a:t>
          </a:r>
        </a:p>
      </dgm:t>
    </dgm:pt>
    <dgm:pt modelId="{077378AA-9E8C-134E-9AF5-740E39685F1E}" type="parTrans" cxnId="{5F928EE5-C7B6-9E40-8B13-5ED9015A7958}">
      <dgm:prSet/>
      <dgm:spPr/>
      <dgm:t>
        <a:bodyPr/>
        <a:lstStyle/>
        <a:p>
          <a:endParaRPr lang="en-US"/>
        </a:p>
      </dgm:t>
    </dgm:pt>
    <dgm:pt modelId="{E055F71E-2317-014C-BA20-AC16BFEC9180}" type="sibTrans" cxnId="{5F928EE5-C7B6-9E40-8B13-5ED9015A7958}">
      <dgm:prSet/>
      <dgm:spPr/>
      <dgm:t>
        <a:bodyPr/>
        <a:lstStyle/>
        <a:p>
          <a:endParaRPr lang="en-US"/>
        </a:p>
      </dgm:t>
    </dgm:pt>
    <dgm:pt modelId="{40D71EFC-E0F7-394A-A8BE-DF0636077F79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Changes that allow for adequate lead-time. </a:t>
          </a:r>
        </a:p>
      </dgm:t>
    </dgm:pt>
    <dgm:pt modelId="{981754D9-3577-3E47-AA3A-0FE866855F57}" type="parTrans" cxnId="{11D61655-F2EA-5040-9354-D640F52D1ED2}">
      <dgm:prSet/>
      <dgm:spPr/>
      <dgm:t>
        <a:bodyPr/>
        <a:lstStyle/>
        <a:p>
          <a:endParaRPr lang="en-US"/>
        </a:p>
      </dgm:t>
    </dgm:pt>
    <dgm:pt modelId="{73074E7C-A34A-554A-800E-BBA0524FB1AE}" type="sibTrans" cxnId="{11D61655-F2EA-5040-9354-D640F52D1ED2}">
      <dgm:prSet/>
      <dgm:spPr/>
      <dgm:t>
        <a:bodyPr/>
        <a:lstStyle/>
        <a:p>
          <a:endParaRPr lang="en-US"/>
        </a:p>
      </dgm:t>
    </dgm:pt>
    <dgm:pt modelId="{1F4C240D-ACCD-9544-8B05-70E15E39334C}">
      <dgm:prSet phldrT="[Text]"/>
      <dgm:spPr/>
      <dgm:t>
        <a:bodyPr/>
        <a:lstStyle/>
        <a:p>
          <a:r>
            <a:rPr lang="en-US" dirty="0">
              <a:latin typeface="+mn-lt"/>
            </a:rPr>
            <a:t>Expedited</a:t>
          </a:r>
        </a:p>
      </dgm:t>
    </dgm:pt>
    <dgm:pt modelId="{1411F320-F597-C449-8F92-A76806CC9F76}" type="parTrans" cxnId="{427BF48B-C7D9-CE4E-B68D-9C7786C175F7}">
      <dgm:prSet/>
      <dgm:spPr/>
      <dgm:t>
        <a:bodyPr/>
        <a:lstStyle/>
        <a:p>
          <a:endParaRPr lang="en-US"/>
        </a:p>
      </dgm:t>
    </dgm:pt>
    <dgm:pt modelId="{533B8038-B9EC-BB49-B6EF-DACD21FD8F27}" type="sibTrans" cxnId="{427BF48B-C7D9-CE4E-B68D-9C7786C175F7}">
      <dgm:prSet/>
      <dgm:spPr/>
      <dgm:t>
        <a:bodyPr/>
        <a:lstStyle/>
        <a:p>
          <a:endParaRPr lang="en-US"/>
        </a:p>
      </dgm:t>
    </dgm:pt>
    <dgm:pt modelId="{1A54761D-8357-3248-806F-0EAFF617529B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Changes that do not allow adequate lead-time</a:t>
          </a:r>
        </a:p>
      </dgm:t>
    </dgm:pt>
    <dgm:pt modelId="{1470E2F3-D41C-2545-9CC3-47E017FE2FC7}" type="parTrans" cxnId="{8D817E05-6D62-CC41-8535-ED2052CCB5D1}">
      <dgm:prSet/>
      <dgm:spPr/>
      <dgm:t>
        <a:bodyPr/>
        <a:lstStyle/>
        <a:p>
          <a:endParaRPr lang="en-US"/>
        </a:p>
      </dgm:t>
    </dgm:pt>
    <dgm:pt modelId="{1163EC99-BE7E-8E4F-9071-D884E2632A39}" type="sibTrans" cxnId="{8D817E05-6D62-CC41-8535-ED2052CCB5D1}">
      <dgm:prSet/>
      <dgm:spPr/>
      <dgm:t>
        <a:bodyPr/>
        <a:lstStyle/>
        <a:p>
          <a:endParaRPr lang="en-US"/>
        </a:p>
      </dgm:t>
    </dgm:pt>
    <dgm:pt modelId="{A5F21D0F-4CC2-1446-B56A-E78121AD2530}">
      <dgm:prSet phldrT="[Text]"/>
      <dgm:spPr/>
      <dgm:t>
        <a:bodyPr/>
        <a:lstStyle/>
        <a:p>
          <a:r>
            <a:rPr lang="en-US" dirty="0">
              <a:latin typeface="+mn-lt"/>
            </a:rPr>
            <a:t>Emergency</a:t>
          </a:r>
        </a:p>
      </dgm:t>
    </dgm:pt>
    <dgm:pt modelId="{77638D49-0A09-5B43-B63B-B63158253100}" type="parTrans" cxnId="{A43029F8-B632-854A-A42D-FB85741DEC78}">
      <dgm:prSet/>
      <dgm:spPr/>
      <dgm:t>
        <a:bodyPr/>
        <a:lstStyle/>
        <a:p>
          <a:endParaRPr lang="en-US"/>
        </a:p>
      </dgm:t>
    </dgm:pt>
    <dgm:pt modelId="{086CAA86-C7A6-9840-B752-D8BB0129B981}" type="sibTrans" cxnId="{A43029F8-B632-854A-A42D-FB85741DEC78}">
      <dgm:prSet/>
      <dgm:spPr/>
      <dgm:t>
        <a:bodyPr/>
        <a:lstStyle/>
        <a:p>
          <a:endParaRPr lang="en-US"/>
        </a:p>
      </dgm:t>
    </dgm:pt>
    <dgm:pt modelId="{AADE304E-B614-5646-8A20-CF21EF16CCFF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Changes with less than 30 minutes lead-time (or past)</a:t>
          </a:r>
        </a:p>
      </dgm:t>
    </dgm:pt>
    <dgm:pt modelId="{87D3611D-AF9D-D847-B623-076268BC7D5A}" type="parTrans" cxnId="{D22B79B4-36F9-FE47-88FE-F8027FCFF4AC}">
      <dgm:prSet/>
      <dgm:spPr/>
      <dgm:t>
        <a:bodyPr/>
        <a:lstStyle/>
        <a:p>
          <a:endParaRPr lang="en-US"/>
        </a:p>
      </dgm:t>
    </dgm:pt>
    <dgm:pt modelId="{C34B94DB-8FB8-BA45-93AC-643B0E2AAD86}" type="sibTrans" cxnId="{D22B79B4-36F9-FE47-88FE-F8027FCFF4AC}">
      <dgm:prSet/>
      <dgm:spPr/>
      <dgm:t>
        <a:bodyPr/>
        <a:lstStyle/>
        <a:p>
          <a:endParaRPr lang="en-US"/>
        </a:p>
      </dgm:t>
    </dgm:pt>
    <dgm:pt modelId="{F202CE5A-4EFA-FF4F-A1E8-60D2452FB855}">
      <dgm:prSet/>
      <dgm:spPr/>
      <dgm:t>
        <a:bodyPr/>
        <a:lstStyle/>
        <a:p>
          <a:r>
            <a:rPr lang="en-US" dirty="0">
              <a:latin typeface="+mn-lt"/>
            </a:rPr>
            <a:t>Pre-Approved</a:t>
          </a:r>
        </a:p>
      </dgm:t>
    </dgm:pt>
    <dgm:pt modelId="{BF2E4956-F27F-384B-AA9C-627D6C1809DF}" type="parTrans" cxnId="{50C86D56-EAF4-3241-B9AC-92A54C36016C}">
      <dgm:prSet/>
      <dgm:spPr/>
      <dgm:t>
        <a:bodyPr/>
        <a:lstStyle/>
        <a:p>
          <a:endParaRPr lang="en-US"/>
        </a:p>
      </dgm:t>
    </dgm:pt>
    <dgm:pt modelId="{47354966-6991-D34A-93D9-6ED15E80C7D3}" type="sibTrans" cxnId="{50C86D56-EAF4-3241-B9AC-92A54C36016C}">
      <dgm:prSet/>
      <dgm:spPr/>
      <dgm:t>
        <a:bodyPr/>
        <a:lstStyle/>
        <a:p>
          <a:endParaRPr lang="en-US"/>
        </a:p>
      </dgm:t>
    </dgm:pt>
    <dgm:pt modelId="{E26DAA2F-CAC9-8942-8B64-4C340B36E0F9}">
      <dgm:prSet custT="1"/>
      <dgm:spPr/>
      <dgm:t>
        <a:bodyPr/>
        <a:lstStyle/>
        <a:p>
          <a:r>
            <a:rPr lang="en-US" sz="1800" dirty="0">
              <a:latin typeface="+mn-lt"/>
            </a:rPr>
            <a:t>The Pre-Approved change type provides a template for introducing low-risk, routine changes to the environment</a:t>
          </a:r>
        </a:p>
      </dgm:t>
    </dgm:pt>
    <dgm:pt modelId="{44B1E552-CBFD-7045-A79E-A2BC0235A2FD}" type="parTrans" cxnId="{E949750E-5F99-784A-BA7E-EE7ECA6D2CBA}">
      <dgm:prSet/>
      <dgm:spPr/>
      <dgm:t>
        <a:bodyPr/>
        <a:lstStyle/>
        <a:p>
          <a:endParaRPr lang="en-US"/>
        </a:p>
      </dgm:t>
    </dgm:pt>
    <dgm:pt modelId="{80D00002-5052-A940-B52D-FE227407B5B8}" type="sibTrans" cxnId="{E949750E-5F99-784A-BA7E-EE7ECA6D2CBA}">
      <dgm:prSet/>
      <dgm:spPr/>
      <dgm:t>
        <a:bodyPr/>
        <a:lstStyle/>
        <a:p>
          <a:endParaRPr lang="en-US"/>
        </a:p>
      </dgm:t>
    </dgm:pt>
    <dgm:pt modelId="{2B83EB21-5374-AF47-BFA8-0C4BCD9A8054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Often poor planning, but can be to address service issue </a:t>
          </a:r>
        </a:p>
      </dgm:t>
    </dgm:pt>
    <dgm:pt modelId="{F8F4B6D0-591B-824A-9E26-04A7666C4572}" type="parTrans" cxnId="{28003AFB-F3E9-3647-84DB-71AE62FC9E57}">
      <dgm:prSet/>
      <dgm:spPr/>
      <dgm:t>
        <a:bodyPr/>
        <a:lstStyle/>
        <a:p>
          <a:endParaRPr lang="en-US"/>
        </a:p>
      </dgm:t>
    </dgm:pt>
    <dgm:pt modelId="{DE8894FF-6B3C-6342-9BDB-5B8116CBD8B9}" type="sibTrans" cxnId="{28003AFB-F3E9-3647-84DB-71AE62FC9E57}">
      <dgm:prSet/>
      <dgm:spPr/>
      <dgm:t>
        <a:bodyPr/>
        <a:lstStyle/>
        <a:p>
          <a:endParaRPr lang="en-US"/>
        </a:p>
      </dgm:t>
    </dgm:pt>
    <dgm:pt modelId="{7776837C-CC8D-DF40-91B4-B4520ABB81C0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These are typically used to resolve a service interruption</a:t>
          </a:r>
        </a:p>
      </dgm:t>
    </dgm:pt>
    <dgm:pt modelId="{65C5D72B-76F4-AE44-ABF3-1DAD4098538D}" type="parTrans" cxnId="{F5577461-FD78-9945-ACE7-F35F573C43EC}">
      <dgm:prSet/>
      <dgm:spPr/>
      <dgm:t>
        <a:bodyPr/>
        <a:lstStyle/>
        <a:p>
          <a:endParaRPr lang="en-US"/>
        </a:p>
      </dgm:t>
    </dgm:pt>
    <dgm:pt modelId="{687A57CB-63FC-1C4C-83A0-A2A320A66707}" type="sibTrans" cxnId="{F5577461-FD78-9945-ACE7-F35F573C43EC}">
      <dgm:prSet/>
      <dgm:spPr/>
      <dgm:t>
        <a:bodyPr/>
        <a:lstStyle/>
        <a:p>
          <a:endParaRPr lang="en-US"/>
        </a:p>
      </dgm:t>
    </dgm:pt>
    <dgm:pt modelId="{056C35E1-90BB-6645-95BA-9321E90ABC46}">
      <dgm:prSet/>
      <dgm:spPr/>
      <dgm:t>
        <a:bodyPr/>
        <a:lstStyle/>
        <a:p>
          <a:r>
            <a:rPr lang="en-US" dirty="0">
              <a:latin typeface="+mn-lt"/>
            </a:rPr>
            <a:t>Pre-Defined</a:t>
          </a:r>
        </a:p>
      </dgm:t>
    </dgm:pt>
    <dgm:pt modelId="{00C898B0-BACD-5A43-ADE2-91F21E6CCDBB}" type="parTrans" cxnId="{C2CD879C-0C58-E042-812F-5421DD9E535E}">
      <dgm:prSet/>
      <dgm:spPr/>
      <dgm:t>
        <a:bodyPr/>
        <a:lstStyle/>
        <a:p>
          <a:endParaRPr lang="en-US"/>
        </a:p>
      </dgm:t>
    </dgm:pt>
    <dgm:pt modelId="{215F428F-E3B1-C147-9C67-F37F321B4F76}" type="sibTrans" cxnId="{C2CD879C-0C58-E042-812F-5421DD9E535E}">
      <dgm:prSet/>
      <dgm:spPr/>
      <dgm:t>
        <a:bodyPr/>
        <a:lstStyle/>
        <a:p>
          <a:endParaRPr lang="en-US"/>
        </a:p>
      </dgm:t>
    </dgm:pt>
    <dgm:pt modelId="{3D07F163-1A29-A744-A06E-7ED9EBBB5247}">
      <dgm:prSet/>
      <dgm:spPr/>
      <dgm:t>
        <a:bodyPr/>
        <a:lstStyle/>
        <a:p>
          <a:r>
            <a:rPr lang="en-US" dirty="0">
              <a:latin typeface="+mn-lt"/>
            </a:rPr>
            <a:t>Reoccurring change with defined set of tasks, &amp; may involve multiple groups</a:t>
          </a:r>
        </a:p>
      </dgm:t>
    </dgm:pt>
    <dgm:pt modelId="{8E66C8CE-AA4F-8749-A277-E09E5798EA60}" type="parTrans" cxnId="{BD1F747E-6CBD-8A41-95C3-DA70C3730CF7}">
      <dgm:prSet/>
      <dgm:spPr/>
      <dgm:t>
        <a:bodyPr/>
        <a:lstStyle/>
        <a:p>
          <a:endParaRPr lang="en-US"/>
        </a:p>
      </dgm:t>
    </dgm:pt>
    <dgm:pt modelId="{17368540-F82F-3D4C-8485-A1B676DA6944}" type="sibTrans" cxnId="{BD1F747E-6CBD-8A41-95C3-DA70C3730CF7}">
      <dgm:prSet/>
      <dgm:spPr/>
      <dgm:t>
        <a:bodyPr/>
        <a:lstStyle/>
        <a:p>
          <a:endParaRPr lang="en-US"/>
        </a:p>
      </dgm:t>
    </dgm:pt>
    <dgm:pt modelId="{4A9F64DA-D498-AF4A-873F-759A8BD840A4}" type="pres">
      <dgm:prSet presAssocID="{DD54EB0E-F99C-ED43-B4EF-1B9951FCFCA1}" presName="Name0" presStyleCnt="0">
        <dgm:presLayoutVars>
          <dgm:dir/>
          <dgm:animLvl val="lvl"/>
          <dgm:resizeHandles val="exact"/>
        </dgm:presLayoutVars>
      </dgm:prSet>
      <dgm:spPr/>
    </dgm:pt>
    <dgm:pt modelId="{5D2BB119-406B-FA4F-A2D9-CA99B6DB7EFA}" type="pres">
      <dgm:prSet presAssocID="{6D270FF6-6231-1341-8E3B-EEDE992ECDC4}" presName="linNode" presStyleCnt="0"/>
      <dgm:spPr/>
    </dgm:pt>
    <dgm:pt modelId="{B9E68564-0D17-1945-B201-3601DAA7AB30}" type="pres">
      <dgm:prSet presAssocID="{6D270FF6-6231-1341-8E3B-EEDE992ECDC4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2792D908-87E7-B841-81CA-9B95758393C9}" type="pres">
      <dgm:prSet presAssocID="{6D270FF6-6231-1341-8E3B-EEDE992ECDC4}" presName="descendantText" presStyleLbl="alignAccFollowNode1" presStyleIdx="0" presStyleCnt="5">
        <dgm:presLayoutVars>
          <dgm:bulletEnabled val="1"/>
        </dgm:presLayoutVars>
      </dgm:prSet>
      <dgm:spPr/>
    </dgm:pt>
    <dgm:pt modelId="{1B703BD9-C48E-4349-ABCA-5F99E62F5570}" type="pres">
      <dgm:prSet presAssocID="{E055F71E-2317-014C-BA20-AC16BFEC9180}" presName="sp" presStyleCnt="0"/>
      <dgm:spPr/>
    </dgm:pt>
    <dgm:pt modelId="{AF70C139-EE06-034C-A140-9AEE7775B7D5}" type="pres">
      <dgm:prSet presAssocID="{1F4C240D-ACCD-9544-8B05-70E15E39334C}" presName="linNode" presStyleCnt="0"/>
      <dgm:spPr/>
    </dgm:pt>
    <dgm:pt modelId="{C61356C4-2463-5948-80F6-77903AAAA73F}" type="pres">
      <dgm:prSet presAssocID="{1F4C240D-ACCD-9544-8B05-70E15E39334C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E1CEB8D3-453D-7549-8771-6D8240FC572E}" type="pres">
      <dgm:prSet presAssocID="{1F4C240D-ACCD-9544-8B05-70E15E39334C}" presName="descendantText" presStyleLbl="alignAccFollowNode1" presStyleIdx="1" presStyleCnt="5">
        <dgm:presLayoutVars>
          <dgm:bulletEnabled val="1"/>
        </dgm:presLayoutVars>
      </dgm:prSet>
      <dgm:spPr/>
    </dgm:pt>
    <dgm:pt modelId="{2B96EB42-736F-E047-8528-B6FC7F6AC2BF}" type="pres">
      <dgm:prSet presAssocID="{533B8038-B9EC-BB49-B6EF-DACD21FD8F27}" presName="sp" presStyleCnt="0"/>
      <dgm:spPr/>
    </dgm:pt>
    <dgm:pt modelId="{E1354CE7-1AB6-FF41-8B60-ADC5FCD75C0C}" type="pres">
      <dgm:prSet presAssocID="{A5F21D0F-4CC2-1446-B56A-E78121AD2530}" presName="linNode" presStyleCnt="0"/>
      <dgm:spPr/>
    </dgm:pt>
    <dgm:pt modelId="{147C6A4D-7179-9441-ABF6-82D775B029DD}" type="pres">
      <dgm:prSet presAssocID="{A5F21D0F-4CC2-1446-B56A-E78121AD2530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00254B7D-D8C0-6F40-A5D6-6492063B89BB}" type="pres">
      <dgm:prSet presAssocID="{A5F21D0F-4CC2-1446-B56A-E78121AD2530}" presName="descendantText" presStyleLbl="alignAccFollowNode1" presStyleIdx="2" presStyleCnt="5" custLinFactNeighborY="13167">
        <dgm:presLayoutVars>
          <dgm:bulletEnabled val="1"/>
        </dgm:presLayoutVars>
      </dgm:prSet>
      <dgm:spPr/>
    </dgm:pt>
    <dgm:pt modelId="{130611CB-56C1-5C4B-AE5F-453ABDD1FEAC}" type="pres">
      <dgm:prSet presAssocID="{086CAA86-C7A6-9840-B752-D8BB0129B981}" presName="sp" presStyleCnt="0"/>
      <dgm:spPr/>
    </dgm:pt>
    <dgm:pt modelId="{44F56D8A-84EA-B444-B3DB-26C82F220DC7}" type="pres">
      <dgm:prSet presAssocID="{F202CE5A-4EFA-FF4F-A1E8-60D2452FB855}" presName="linNode" presStyleCnt="0"/>
      <dgm:spPr/>
    </dgm:pt>
    <dgm:pt modelId="{DABA450C-13B2-F240-8C39-2AED4C1BACD7}" type="pres">
      <dgm:prSet presAssocID="{F202CE5A-4EFA-FF4F-A1E8-60D2452FB855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9546E626-8906-1547-8147-C080E5B09614}" type="pres">
      <dgm:prSet presAssocID="{F202CE5A-4EFA-FF4F-A1E8-60D2452FB855}" presName="descendantText" presStyleLbl="alignAccFollowNode1" presStyleIdx="3" presStyleCnt="5">
        <dgm:presLayoutVars>
          <dgm:bulletEnabled val="1"/>
        </dgm:presLayoutVars>
      </dgm:prSet>
      <dgm:spPr/>
    </dgm:pt>
    <dgm:pt modelId="{0AC5BD87-80FC-CA45-8162-DC5038B35243}" type="pres">
      <dgm:prSet presAssocID="{47354966-6991-D34A-93D9-6ED15E80C7D3}" presName="sp" presStyleCnt="0"/>
      <dgm:spPr/>
    </dgm:pt>
    <dgm:pt modelId="{879F2F5D-AC0E-FA4E-9E0C-04DE436598AA}" type="pres">
      <dgm:prSet presAssocID="{056C35E1-90BB-6645-95BA-9321E90ABC46}" presName="linNode" presStyleCnt="0"/>
      <dgm:spPr/>
    </dgm:pt>
    <dgm:pt modelId="{83131DB4-73C9-F042-82B6-FC39E7CDA968}" type="pres">
      <dgm:prSet presAssocID="{056C35E1-90BB-6645-95BA-9321E90ABC46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107D4D86-52F1-C949-BC2F-8F144B62D0CC}" type="pres">
      <dgm:prSet presAssocID="{056C35E1-90BB-6645-95BA-9321E90ABC46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8D817E05-6D62-CC41-8535-ED2052CCB5D1}" srcId="{1F4C240D-ACCD-9544-8B05-70E15E39334C}" destId="{1A54761D-8357-3248-806F-0EAFF617529B}" srcOrd="0" destOrd="0" parTransId="{1470E2F3-D41C-2545-9CC3-47E017FE2FC7}" sibTransId="{1163EC99-BE7E-8E4F-9071-D884E2632A39}"/>
    <dgm:cxn modelId="{FC32F505-0ED9-AE40-9871-2C0FB5D7A49F}" type="presOf" srcId="{2B83EB21-5374-AF47-BFA8-0C4BCD9A8054}" destId="{E1CEB8D3-453D-7549-8771-6D8240FC572E}" srcOrd="0" destOrd="1" presId="urn:microsoft.com/office/officeart/2005/8/layout/vList5"/>
    <dgm:cxn modelId="{7AC6B308-A680-CA43-B261-2F754FA438C7}" type="presOf" srcId="{DD54EB0E-F99C-ED43-B4EF-1B9951FCFCA1}" destId="{4A9F64DA-D498-AF4A-873F-759A8BD840A4}" srcOrd="0" destOrd="0" presId="urn:microsoft.com/office/officeart/2005/8/layout/vList5"/>
    <dgm:cxn modelId="{E949750E-5F99-784A-BA7E-EE7ECA6D2CBA}" srcId="{F202CE5A-4EFA-FF4F-A1E8-60D2452FB855}" destId="{E26DAA2F-CAC9-8942-8B64-4C340B36E0F9}" srcOrd="0" destOrd="0" parTransId="{44B1E552-CBFD-7045-A79E-A2BC0235A2FD}" sibTransId="{80D00002-5052-A940-B52D-FE227407B5B8}"/>
    <dgm:cxn modelId="{387C3729-9088-0246-AE5A-58CD5A943299}" type="presOf" srcId="{E26DAA2F-CAC9-8942-8B64-4C340B36E0F9}" destId="{9546E626-8906-1547-8147-C080E5B09614}" srcOrd="0" destOrd="0" presId="urn:microsoft.com/office/officeart/2005/8/layout/vList5"/>
    <dgm:cxn modelId="{7CD9063F-6C08-9E4B-B647-261D98477AF0}" type="presOf" srcId="{F202CE5A-4EFA-FF4F-A1E8-60D2452FB855}" destId="{DABA450C-13B2-F240-8C39-2AED4C1BACD7}" srcOrd="0" destOrd="0" presId="urn:microsoft.com/office/officeart/2005/8/layout/vList5"/>
    <dgm:cxn modelId="{F5577461-FD78-9945-ACE7-F35F573C43EC}" srcId="{A5F21D0F-4CC2-1446-B56A-E78121AD2530}" destId="{7776837C-CC8D-DF40-91B4-B4520ABB81C0}" srcOrd="1" destOrd="0" parTransId="{65C5D72B-76F4-AE44-ABF3-1DAD4098538D}" sibTransId="{687A57CB-63FC-1C4C-83A0-A2A320A66707}"/>
    <dgm:cxn modelId="{E759C565-B414-724E-9EC6-BB173FF9A0E4}" type="presOf" srcId="{6D270FF6-6231-1341-8E3B-EEDE992ECDC4}" destId="{B9E68564-0D17-1945-B201-3601DAA7AB30}" srcOrd="0" destOrd="0" presId="urn:microsoft.com/office/officeart/2005/8/layout/vList5"/>
    <dgm:cxn modelId="{FC2EC34E-DBBE-F740-B582-D2EBE0E88737}" type="presOf" srcId="{1F4C240D-ACCD-9544-8B05-70E15E39334C}" destId="{C61356C4-2463-5948-80F6-77903AAAA73F}" srcOrd="0" destOrd="0" presId="urn:microsoft.com/office/officeart/2005/8/layout/vList5"/>
    <dgm:cxn modelId="{11D61655-F2EA-5040-9354-D640F52D1ED2}" srcId="{6D270FF6-6231-1341-8E3B-EEDE992ECDC4}" destId="{40D71EFC-E0F7-394A-A8BE-DF0636077F79}" srcOrd="0" destOrd="0" parTransId="{981754D9-3577-3E47-AA3A-0FE866855F57}" sibTransId="{73074E7C-A34A-554A-800E-BBA0524FB1AE}"/>
    <dgm:cxn modelId="{50C86D56-EAF4-3241-B9AC-92A54C36016C}" srcId="{DD54EB0E-F99C-ED43-B4EF-1B9951FCFCA1}" destId="{F202CE5A-4EFA-FF4F-A1E8-60D2452FB855}" srcOrd="3" destOrd="0" parTransId="{BF2E4956-F27F-384B-AA9C-627D6C1809DF}" sibTransId="{47354966-6991-D34A-93D9-6ED15E80C7D3}"/>
    <dgm:cxn modelId="{BD1F747E-6CBD-8A41-95C3-DA70C3730CF7}" srcId="{056C35E1-90BB-6645-95BA-9321E90ABC46}" destId="{3D07F163-1A29-A744-A06E-7ED9EBBB5247}" srcOrd="0" destOrd="0" parTransId="{8E66C8CE-AA4F-8749-A277-E09E5798EA60}" sibTransId="{17368540-F82F-3D4C-8485-A1B676DA6944}"/>
    <dgm:cxn modelId="{DC3FFE88-9F71-AB44-B7DE-BA8A42BAB0BD}" type="presOf" srcId="{40D71EFC-E0F7-394A-A8BE-DF0636077F79}" destId="{2792D908-87E7-B841-81CA-9B95758393C9}" srcOrd="0" destOrd="0" presId="urn:microsoft.com/office/officeart/2005/8/layout/vList5"/>
    <dgm:cxn modelId="{427BF48B-C7D9-CE4E-B68D-9C7786C175F7}" srcId="{DD54EB0E-F99C-ED43-B4EF-1B9951FCFCA1}" destId="{1F4C240D-ACCD-9544-8B05-70E15E39334C}" srcOrd="1" destOrd="0" parTransId="{1411F320-F597-C449-8F92-A76806CC9F76}" sibTransId="{533B8038-B9EC-BB49-B6EF-DACD21FD8F27}"/>
    <dgm:cxn modelId="{C2CD879C-0C58-E042-812F-5421DD9E535E}" srcId="{DD54EB0E-F99C-ED43-B4EF-1B9951FCFCA1}" destId="{056C35E1-90BB-6645-95BA-9321E90ABC46}" srcOrd="4" destOrd="0" parTransId="{00C898B0-BACD-5A43-ADE2-91F21E6CCDBB}" sibTransId="{215F428F-E3B1-C147-9C67-F37F321B4F76}"/>
    <dgm:cxn modelId="{D22B79B4-36F9-FE47-88FE-F8027FCFF4AC}" srcId="{A5F21D0F-4CC2-1446-B56A-E78121AD2530}" destId="{AADE304E-B614-5646-8A20-CF21EF16CCFF}" srcOrd="0" destOrd="0" parTransId="{87D3611D-AF9D-D847-B623-076268BC7D5A}" sibTransId="{C34B94DB-8FB8-BA45-93AC-643B0E2AAD86}"/>
    <dgm:cxn modelId="{E83BDBB8-9609-C74F-B230-EA0D2C679186}" type="presOf" srcId="{3D07F163-1A29-A744-A06E-7ED9EBBB5247}" destId="{107D4D86-52F1-C949-BC2F-8F144B62D0CC}" srcOrd="0" destOrd="0" presId="urn:microsoft.com/office/officeart/2005/8/layout/vList5"/>
    <dgm:cxn modelId="{570230CF-A341-0C47-9E15-79C89320AFD3}" type="presOf" srcId="{056C35E1-90BB-6645-95BA-9321E90ABC46}" destId="{83131DB4-73C9-F042-82B6-FC39E7CDA968}" srcOrd="0" destOrd="0" presId="urn:microsoft.com/office/officeart/2005/8/layout/vList5"/>
    <dgm:cxn modelId="{0CCBA4DA-7EB9-BB45-A564-64FB72595294}" type="presOf" srcId="{AADE304E-B614-5646-8A20-CF21EF16CCFF}" destId="{00254B7D-D8C0-6F40-A5D6-6492063B89BB}" srcOrd="0" destOrd="0" presId="urn:microsoft.com/office/officeart/2005/8/layout/vList5"/>
    <dgm:cxn modelId="{F39E92DB-A0A9-E84E-B2A5-9480B78D9315}" type="presOf" srcId="{1A54761D-8357-3248-806F-0EAFF617529B}" destId="{E1CEB8D3-453D-7549-8771-6D8240FC572E}" srcOrd="0" destOrd="0" presId="urn:microsoft.com/office/officeart/2005/8/layout/vList5"/>
    <dgm:cxn modelId="{5F928EE5-C7B6-9E40-8B13-5ED9015A7958}" srcId="{DD54EB0E-F99C-ED43-B4EF-1B9951FCFCA1}" destId="{6D270FF6-6231-1341-8E3B-EEDE992ECDC4}" srcOrd="0" destOrd="0" parTransId="{077378AA-9E8C-134E-9AF5-740E39685F1E}" sibTransId="{E055F71E-2317-014C-BA20-AC16BFEC9180}"/>
    <dgm:cxn modelId="{ECD929EC-E502-8B4C-BB3F-ECA837C40C7D}" type="presOf" srcId="{7776837C-CC8D-DF40-91B4-B4520ABB81C0}" destId="{00254B7D-D8C0-6F40-A5D6-6492063B89BB}" srcOrd="0" destOrd="1" presId="urn:microsoft.com/office/officeart/2005/8/layout/vList5"/>
    <dgm:cxn modelId="{E9E06DED-133F-8D40-AE7D-CAEAF1049C3F}" type="presOf" srcId="{A5F21D0F-4CC2-1446-B56A-E78121AD2530}" destId="{147C6A4D-7179-9441-ABF6-82D775B029DD}" srcOrd="0" destOrd="0" presId="urn:microsoft.com/office/officeart/2005/8/layout/vList5"/>
    <dgm:cxn modelId="{A43029F8-B632-854A-A42D-FB85741DEC78}" srcId="{DD54EB0E-F99C-ED43-B4EF-1B9951FCFCA1}" destId="{A5F21D0F-4CC2-1446-B56A-E78121AD2530}" srcOrd="2" destOrd="0" parTransId="{77638D49-0A09-5B43-B63B-B63158253100}" sibTransId="{086CAA86-C7A6-9840-B752-D8BB0129B981}"/>
    <dgm:cxn modelId="{28003AFB-F3E9-3647-84DB-71AE62FC9E57}" srcId="{1F4C240D-ACCD-9544-8B05-70E15E39334C}" destId="{2B83EB21-5374-AF47-BFA8-0C4BCD9A8054}" srcOrd="1" destOrd="0" parTransId="{F8F4B6D0-591B-824A-9E26-04A7666C4572}" sibTransId="{DE8894FF-6B3C-6342-9BDB-5B8116CBD8B9}"/>
    <dgm:cxn modelId="{03CD4353-F8DF-DB48-BA3F-1624B5331F29}" type="presParOf" srcId="{4A9F64DA-D498-AF4A-873F-759A8BD840A4}" destId="{5D2BB119-406B-FA4F-A2D9-CA99B6DB7EFA}" srcOrd="0" destOrd="0" presId="urn:microsoft.com/office/officeart/2005/8/layout/vList5"/>
    <dgm:cxn modelId="{21B7B01E-7D7D-1043-A6C7-076540A9E24C}" type="presParOf" srcId="{5D2BB119-406B-FA4F-A2D9-CA99B6DB7EFA}" destId="{B9E68564-0D17-1945-B201-3601DAA7AB30}" srcOrd="0" destOrd="0" presId="urn:microsoft.com/office/officeart/2005/8/layout/vList5"/>
    <dgm:cxn modelId="{080ADD6B-B648-8A48-AF3A-D3FC394C34AB}" type="presParOf" srcId="{5D2BB119-406B-FA4F-A2D9-CA99B6DB7EFA}" destId="{2792D908-87E7-B841-81CA-9B95758393C9}" srcOrd="1" destOrd="0" presId="urn:microsoft.com/office/officeart/2005/8/layout/vList5"/>
    <dgm:cxn modelId="{8361860B-49B2-C34B-B26E-0E6BB68550D3}" type="presParOf" srcId="{4A9F64DA-D498-AF4A-873F-759A8BD840A4}" destId="{1B703BD9-C48E-4349-ABCA-5F99E62F5570}" srcOrd="1" destOrd="0" presId="urn:microsoft.com/office/officeart/2005/8/layout/vList5"/>
    <dgm:cxn modelId="{E67D5251-218B-B84E-9687-B42BE3C8D0FE}" type="presParOf" srcId="{4A9F64DA-D498-AF4A-873F-759A8BD840A4}" destId="{AF70C139-EE06-034C-A140-9AEE7775B7D5}" srcOrd="2" destOrd="0" presId="urn:microsoft.com/office/officeart/2005/8/layout/vList5"/>
    <dgm:cxn modelId="{FEBE1ED2-36BA-D844-9CA2-116F189C8EAF}" type="presParOf" srcId="{AF70C139-EE06-034C-A140-9AEE7775B7D5}" destId="{C61356C4-2463-5948-80F6-77903AAAA73F}" srcOrd="0" destOrd="0" presId="urn:microsoft.com/office/officeart/2005/8/layout/vList5"/>
    <dgm:cxn modelId="{1328D847-25AA-494A-B1EB-2FA0E4A7ECCD}" type="presParOf" srcId="{AF70C139-EE06-034C-A140-9AEE7775B7D5}" destId="{E1CEB8D3-453D-7549-8771-6D8240FC572E}" srcOrd="1" destOrd="0" presId="urn:microsoft.com/office/officeart/2005/8/layout/vList5"/>
    <dgm:cxn modelId="{6D043B08-574C-C94F-99E5-82FC65E483FE}" type="presParOf" srcId="{4A9F64DA-D498-AF4A-873F-759A8BD840A4}" destId="{2B96EB42-736F-E047-8528-B6FC7F6AC2BF}" srcOrd="3" destOrd="0" presId="urn:microsoft.com/office/officeart/2005/8/layout/vList5"/>
    <dgm:cxn modelId="{D7D3A120-2DD5-BB4D-82C9-A0E4F073EC06}" type="presParOf" srcId="{4A9F64DA-D498-AF4A-873F-759A8BD840A4}" destId="{E1354CE7-1AB6-FF41-8B60-ADC5FCD75C0C}" srcOrd="4" destOrd="0" presId="urn:microsoft.com/office/officeart/2005/8/layout/vList5"/>
    <dgm:cxn modelId="{D66C9AEF-6F61-6B44-8968-15C3C8EBE6A6}" type="presParOf" srcId="{E1354CE7-1AB6-FF41-8B60-ADC5FCD75C0C}" destId="{147C6A4D-7179-9441-ABF6-82D775B029DD}" srcOrd="0" destOrd="0" presId="urn:microsoft.com/office/officeart/2005/8/layout/vList5"/>
    <dgm:cxn modelId="{F3273A14-385F-D34F-8FB3-00CE3F94C1D9}" type="presParOf" srcId="{E1354CE7-1AB6-FF41-8B60-ADC5FCD75C0C}" destId="{00254B7D-D8C0-6F40-A5D6-6492063B89BB}" srcOrd="1" destOrd="0" presId="urn:microsoft.com/office/officeart/2005/8/layout/vList5"/>
    <dgm:cxn modelId="{0E2EC5C6-D2C4-AD41-9E50-7D0608F915D4}" type="presParOf" srcId="{4A9F64DA-D498-AF4A-873F-759A8BD840A4}" destId="{130611CB-56C1-5C4B-AE5F-453ABDD1FEAC}" srcOrd="5" destOrd="0" presId="urn:microsoft.com/office/officeart/2005/8/layout/vList5"/>
    <dgm:cxn modelId="{4F66E63E-53AF-6844-986A-4544CAABDD35}" type="presParOf" srcId="{4A9F64DA-D498-AF4A-873F-759A8BD840A4}" destId="{44F56D8A-84EA-B444-B3DB-26C82F220DC7}" srcOrd="6" destOrd="0" presId="urn:microsoft.com/office/officeart/2005/8/layout/vList5"/>
    <dgm:cxn modelId="{DDC47C60-A007-DA46-A391-80DCBE63D865}" type="presParOf" srcId="{44F56D8A-84EA-B444-B3DB-26C82F220DC7}" destId="{DABA450C-13B2-F240-8C39-2AED4C1BACD7}" srcOrd="0" destOrd="0" presId="urn:microsoft.com/office/officeart/2005/8/layout/vList5"/>
    <dgm:cxn modelId="{E8731658-2CF1-D943-97B2-BE302A191069}" type="presParOf" srcId="{44F56D8A-84EA-B444-B3DB-26C82F220DC7}" destId="{9546E626-8906-1547-8147-C080E5B09614}" srcOrd="1" destOrd="0" presId="urn:microsoft.com/office/officeart/2005/8/layout/vList5"/>
    <dgm:cxn modelId="{8D4BBB14-38B9-1D4A-9711-93C11DB634E9}" type="presParOf" srcId="{4A9F64DA-D498-AF4A-873F-759A8BD840A4}" destId="{0AC5BD87-80FC-CA45-8162-DC5038B35243}" srcOrd="7" destOrd="0" presId="urn:microsoft.com/office/officeart/2005/8/layout/vList5"/>
    <dgm:cxn modelId="{9D2CE632-C3B1-1D46-8A28-490C208B3DAD}" type="presParOf" srcId="{4A9F64DA-D498-AF4A-873F-759A8BD840A4}" destId="{879F2F5D-AC0E-FA4E-9E0C-04DE436598AA}" srcOrd="8" destOrd="0" presId="urn:microsoft.com/office/officeart/2005/8/layout/vList5"/>
    <dgm:cxn modelId="{C5CEBF61-CDA1-3344-B417-2EC02CF42B69}" type="presParOf" srcId="{879F2F5D-AC0E-FA4E-9E0C-04DE436598AA}" destId="{83131DB4-73C9-F042-82B6-FC39E7CDA968}" srcOrd="0" destOrd="0" presId="urn:microsoft.com/office/officeart/2005/8/layout/vList5"/>
    <dgm:cxn modelId="{E44A7C1F-7015-E44F-A2AF-61EDA2745DE6}" type="presParOf" srcId="{879F2F5D-AC0E-FA4E-9E0C-04DE436598AA}" destId="{107D4D86-52F1-C949-BC2F-8F144B62D0C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FB6922B-602F-5542-B0B8-97817B8C350B}" type="doc">
      <dgm:prSet loTypeId="urn:microsoft.com/office/officeart/2005/8/layout/vList2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8240BB80-DE27-6045-A711-4D87BAEA5438}">
      <dgm:prSet phldrT="[Text]"/>
      <dgm:spPr/>
      <dgm:t>
        <a:bodyPr/>
        <a:lstStyle/>
        <a:p>
          <a:r>
            <a:rPr lang="en-US" dirty="0">
              <a:latin typeface="+mn-lt"/>
            </a:rPr>
            <a:t>Low – Unexpected is not likely</a:t>
          </a:r>
        </a:p>
      </dgm:t>
    </dgm:pt>
    <dgm:pt modelId="{66630432-D02C-5C46-BAF9-D9144376F840}" type="parTrans" cxnId="{981EF189-34CD-9549-9934-BDE3C9298FCA}">
      <dgm:prSet/>
      <dgm:spPr/>
      <dgm:t>
        <a:bodyPr/>
        <a:lstStyle/>
        <a:p>
          <a:endParaRPr lang="en-US"/>
        </a:p>
      </dgm:t>
    </dgm:pt>
    <dgm:pt modelId="{98DAAC11-103E-364B-B968-0EDAA36F12D9}" type="sibTrans" cxnId="{981EF189-34CD-9549-9934-BDE3C9298FCA}">
      <dgm:prSet/>
      <dgm:spPr/>
      <dgm:t>
        <a:bodyPr/>
        <a:lstStyle/>
        <a:p>
          <a:endParaRPr lang="en-US"/>
        </a:p>
      </dgm:t>
    </dgm:pt>
    <dgm:pt modelId="{375CAF01-43DA-4C40-B920-A82F8D1702A8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Simple technology; few steps or records updated &lt;10,000</a:t>
          </a:r>
        </a:p>
      </dgm:t>
    </dgm:pt>
    <dgm:pt modelId="{9AA676BC-2AE4-944D-A42E-03F85EC6194A}" type="parTrans" cxnId="{7130B267-010D-0B45-A1EB-281783B37AED}">
      <dgm:prSet/>
      <dgm:spPr/>
      <dgm:t>
        <a:bodyPr/>
        <a:lstStyle/>
        <a:p>
          <a:endParaRPr lang="en-US"/>
        </a:p>
      </dgm:t>
    </dgm:pt>
    <dgm:pt modelId="{0CF7EA00-DE78-5643-837C-BE5F550E4E82}" type="sibTrans" cxnId="{7130B267-010D-0B45-A1EB-281783B37AED}">
      <dgm:prSet/>
      <dgm:spPr/>
      <dgm:t>
        <a:bodyPr/>
        <a:lstStyle/>
        <a:p>
          <a:endParaRPr lang="en-US"/>
        </a:p>
      </dgm:t>
    </dgm:pt>
    <dgm:pt modelId="{CB6DA13B-07C2-C649-9455-A827A6AD930C}">
      <dgm:prSet phldrT="[Text]"/>
      <dgm:spPr/>
      <dgm:t>
        <a:bodyPr/>
        <a:lstStyle/>
        <a:p>
          <a:r>
            <a:rPr lang="en-US" dirty="0">
              <a:latin typeface="+mn-lt"/>
            </a:rPr>
            <a:t>Medium – Unexpected is likely</a:t>
          </a:r>
        </a:p>
      </dgm:t>
    </dgm:pt>
    <dgm:pt modelId="{66CDC484-E3EC-FE40-B061-F7D271CEAAAC}" type="parTrans" cxnId="{188683CC-18A2-124A-BB4D-BC7C7F88A066}">
      <dgm:prSet/>
      <dgm:spPr/>
      <dgm:t>
        <a:bodyPr/>
        <a:lstStyle/>
        <a:p>
          <a:endParaRPr lang="en-US"/>
        </a:p>
      </dgm:t>
    </dgm:pt>
    <dgm:pt modelId="{E2BBF337-D633-C343-B636-B4E26C335D92}" type="sibTrans" cxnId="{188683CC-18A2-124A-BB4D-BC7C7F88A066}">
      <dgm:prSet/>
      <dgm:spPr/>
      <dgm:t>
        <a:bodyPr/>
        <a:lstStyle/>
        <a:p>
          <a:endParaRPr lang="en-US"/>
        </a:p>
      </dgm:t>
    </dgm:pt>
    <dgm:pt modelId="{8149B635-858D-4945-98FF-706A2115311E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Technology is not routine, multiple steps, not a process redesign; or records updated &lt;100,000</a:t>
          </a:r>
        </a:p>
      </dgm:t>
    </dgm:pt>
    <dgm:pt modelId="{A8016A12-6585-CA4F-BED6-E1E454C1E0E8}" type="parTrans" cxnId="{76FD3454-B6C1-DD42-9724-A8A472021044}">
      <dgm:prSet/>
      <dgm:spPr/>
      <dgm:t>
        <a:bodyPr/>
        <a:lstStyle/>
        <a:p>
          <a:endParaRPr lang="en-US"/>
        </a:p>
      </dgm:t>
    </dgm:pt>
    <dgm:pt modelId="{DC90F0A2-2F18-9849-A64D-02CE959DF525}" type="sibTrans" cxnId="{76FD3454-B6C1-DD42-9724-A8A472021044}">
      <dgm:prSet/>
      <dgm:spPr/>
      <dgm:t>
        <a:bodyPr/>
        <a:lstStyle/>
        <a:p>
          <a:endParaRPr lang="en-US"/>
        </a:p>
      </dgm:t>
    </dgm:pt>
    <dgm:pt modelId="{99FE6785-FD7C-7142-B2A9-5A685A04EC50}">
      <dgm:prSet/>
      <dgm:spPr/>
      <dgm:t>
        <a:bodyPr/>
        <a:lstStyle/>
        <a:p>
          <a:r>
            <a:rPr lang="en-US" dirty="0">
              <a:latin typeface="+mn-lt"/>
            </a:rPr>
            <a:t>High - Unexpected is very likely</a:t>
          </a:r>
        </a:p>
      </dgm:t>
    </dgm:pt>
    <dgm:pt modelId="{0973AC10-51CA-5743-8C3F-C829FFA10CCD}" type="parTrans" cxnId="{3DA3F77C-2D52-9143-B723-59AEE5710E1D}">
      <dgm:prSet/>
      <dgm:spPr/>
      <dgm:t>
        <a:bodyPr/>
        <a:lstStyle/>
        <a:p>
          <a:endParaRPr lang="en-US"/>
        </a:p>
      </dgm:t>
    </dgm:pt>
    <dgm:pt modelId="{0B7D960C-81C1-684D-BE64-4C1925736840}" type="sibTrans" cxnId="{3DA3F77C-2D52-9143-B723-59AEE5710E1D}">
      <dgm:prSet/>
      <dgm:spPr/>
      <dgm:t>
        <a:bodyPr/>
        <a:lstStyle/>
        <a:p>
          <a:endParaRPr lang="en-US"/>
        </a:p>
      </dgm:t>
    </dgm:pt>
    <dgm:pt modelId="{213484F1-764C-734E-8E51-131310AB87F4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Standard type of procedure that is executed often</a:t>
          </a:r>
        </a:p>
      </dgm:t>
    </dgm:pt>
    <dgm:pt modelId="{FE539F4E-50D2-0243-B09A-E3F6D7077FA1}" type="parTrans" cxnId="{916EFB52-8D49-8540-A91F-6CB03EC3AA01}">
      <dgm:prSet/>
      <dgm:spPr/>
      <dgm:t>
        <a:bodyPr/>
        <a:lstStyle/>
        <a:p>
          <a:endParaRPr lang="en-US"/>
        </a:p>
      </dgm:t>
    </dgm:pt>
    <dgm:pt modelId="{A9071CB6-15E7-C141-8567-903C65D7E821}" type="sibTrans" cxnId="{916EFB52-8D49-8540-A91F-6CB03EC3AA01}">
      <dgm:prSet/>
      <dgm:spPr/>
      <dgm:t>
        <a:bodyPr/>
        <a:lstStyle/>
        <a:p>
          <a:endParaRPr lang="en-US"/>
        </a:p>
      </dgm:t>
    </dgm:pt>
    <dgm:pt modelId="{A019FE1B-FDB6-774C-90A9-24CCB3C0D8B2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Quickly implemented &amp; backed out by a single person</a:t>
          </a:r>
        </a:p>
      </dgm:t>
    </dgm:pt>
    <dgm:pt modelId="{CC7EFBE1-0FFF-D446-9242-8BF492D72313}" type="parTrans" cxnId="{A1DA643E-6597-5144-BC5C-38D42A67B6D2}">
      <dgm:prSet/>
      <dgm:spPr/>
      <dgm:t>
        <a:bodyPr/>
        <a:lstStyle/>
        <a:p>
          <a:endParaRPr lang="en-US"/>
        </a:p>
      </dgm:t>
    </dgm:pt>
    <dgm:pt modelId="{11C30435-F878-B64B-AF0A-94A3CA27E39D}" type="sibTrans" cxnId="{A1DA643E-6597-5144-BC5C-38D42A67B6D2}">
      <dgm:prSet/>
      <dgm:spPr/>
      <dgm:t>
        <a:bodyPr/>
        <a:lstStyle/>
        <a:p>
          <a:endParaRPr lang="en-US"/>
        </a:p>
      </dgm:t>
    </dgm:pt>
    <dgm:pt modelId="{4CDA1CBC-D904-E34C-B2DF-758DD8C41566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Nonstandard type of procedure and associated with level of difficulty</a:t>
          </a:r>
        </a:p>
      </dgm:t>
    </dgm:pt>
    <dgm:pt modelId="{73A9D656-4351-8647-BFBA-BC41CADDA4AC}" type="parTrans" cxnId="{CF306AEF-A6C0-6F49-8D0B-68B4BAA7647B}">
      <dgm:prSet/>
      <dgm:spPr/>
      <dgm:t>
        <a:bodyPr/>
        <a:lstStyle/>
        <a:p>
          <a:endParaRPr lang="en-US"/>
        </a:p>
      </dgm:t>
    </dgm:pt>
    <dgm:pt modelId="{36D115BD-C709-AC41-8007-7915A5B17283}" type="sibTrans" cxnId="{CF306AEF-A6C0-6F49-8D0B-68B4BAA7647B}">
      <dgm:prSet/>
      <dgm:spPr/>
      <dgm:t>
        <a:bodyPr/>
        <a:lstStyle/>
        <a:p>
          <a:endParaRPr lang="en-US"/>
        </a:p>
      </dgm:t>
    </dgm:pt>
    <dgm:pt modelId="{7169C19C-6ABA-FB4A-AF1C-A34F546040C2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Implementing or backing out may be time consuming or more than one person</a:t>
          </a:r>
        </a:p>
      </dgm:t>
    </dgm:pt>
    <dgm:pt modelId="{D26B16C1-3291-9D4C-B64E-E5EFC2C58234}" type="parTrans" cxnId="{0CCE13CF-0538-0643-BBD1-4B8C6F82FBAA}">
      <dgm:prSet/>
      <dgm:spPr/>
      <dgm:t>
        <a:bodyPr/>
        <a:lstStyle/>
        <a:p>
          <a:endParaRPr lang="en-US"/>
        </a:p>
      </dgm:t>
    </dgm:pt>
    <dgm:pt modelId="{DC62B9AE-8F14-F14E-8B44-E934668D2249}" type="sibTrans" cxnId="{0CCE13CF-0538-0643-BBD1-4B8C6F82FBAA}">
      <dgm:prSet/>
      <dgm:spPr/>
      <dgm:t>
        <a:bodyPr/>
        <a:lstStyle/>
        <a:p>
          <a:endParaRPr lang="en-US"/>
        </a:p>
      </dgm:t>
    </dgm:pt>
    <dgm:pt modelId="{E9E5DBE8-EE9A-4B49-AD02-7CD26C84E2C1}">
      <dgm:prSet custT="1"/>
      <dgm:spPr/>
      <dgm:t>
        <a:bodyPr/>
        <a:lstStyle/>
        <a:p>
          <a:r>
            <a:rPr lang="en-US" sz="1800" dirty="0">
              <a:latin typeface="+mn-lt"/>
            </a:rPr>
            <a:t>Technology is complex, involves a process redesign or records updated &gt;100,000</a:t>
          </a:r>
        </a:p>
      </dgm:t>
    </dgm:pt>
    <dgm:pt modelId="{332757AA-DB58-7D4E-B068-E0DE14B5F34C}" type="parTrans" cxnId="{2F28CE4E-2396-F341-B4A8-7B032998B3E9}">
      <dgm:prSet/>
      <dgm:spPr/>
      <dgm:t>
        <a:bodyPr/>
        <a:lstStyle/>
        <a:p>
          <a:endParaRPr lang="en-US"/>
        </a:p>
      </dgm:t>
    </dgm:pt>
    <dgm:pt modelId="{8DDF882C-7A8C-A84D-BF50-AE8987E32D27}" type="sibTrans" cxnId="{2F28CE4E-2396-F341-B4A8-7B032998B3E9}">
      <dgm:prSet/>
      <dgm:spPr/>
      <dgm:t>
        <a:bodyPr/>
        <a:lstStyle/>
        <a:p>
          <a:endParaRPr lang="en-US"/>
        </a:p>
      </dgm:t>
    </dgm:pt>
    <dgm:pt modelId="{CE99F568-783C-684F-ABBD-8891A32FC75B}">
      <dgm:prSet custT="1"/>
      <dgm:spPr/>
      <dgm:t>
        <a:bodyPr/>
        <a:lstStyle/>
        <a:p>
          <a:r>
            <a:rPr lang="en-US" sz="1800" dirty="0">
              <a:latin typeface="+mn-lt"/>
            </a:rPr>
            <a:t>Technology procedure requires high level of multidisciplinary skill sets</a:t>
          </a:r>
        </a:p>
      </dgm:t>
    </dgm:pt>
    <dgm:pt modelId="{26103366-F79A-DF47-9D4C-B54D3FFB37BC}" type="parTrans" cxnId="{ADBE8E64-B7F1-2248-B120-972563C483C2}">
      <dgm:prSet/>
      <dgm:spPr/>
      <dgm:t>
        <a:bodyPr/>
        <a:lstStyle/>
        <a:p>
          <a:endParaRPr lang="en-US"/>
        </a:p>
      </dgm:t>
    </dgm:pt>
    <dgm:pt modelId="{CF80DDA5-2A3A-7C4C-BB24-DB8C1CC5B422}" type="sibTrans" cxnId="{ADBE8E64-B7F1-2248-B120-972563C483C2}">
      <dgm:prSet/>
      <dgm:spPr/>
      <dgm:t>
        <a:bodyPr/>
        <a:lstStyle/>
        <a:p>
          <a:endParaRPr lang="en-US"/>
        </a:p>
      </dgm:t>
    </dgm:pt>
    <dgm:pt modelId="{CBB0DA62-3315-5543-A9EE-E35C656FDACD}">
      <dgm:prSet custT="1"/>
      <dgm:spPr/>
      <dgm:t>
        <a:bodyPr/>
        <a:lstStyle/>
        <a:p>
          <a:r>
            <a:rPr lang="en-US" sz="1800" dirty="0">
              <a:latin typeface="+mn-lt"/>
            </a:rPr>
            <a:t>Knowledge of implementing or backing out is spread among disparate IS teams</a:t>
          </a:r>
        </a:p>
      </dgm:t>
    </dgm:pt>
    <dgm:pt modelId="{C1B4640E-C4F7-A942-9BF7-1FC345DB4FE9}" type="parTrans" cxnId="{F0F25883-FBEB-4D4C-8CD6-4D520B58675A}">
      <dgm:prSet/>
      <dgm:spPr/>
      <dgm:t>
        <a:bodyPr/>
        <a:lstStyle/>
        <a:p>
          <a:endParaRPr lang="en-US"/>
        </a:p>
      </dgm:t>
    </dgm:pt>
    <dgm:pt modelId="{4B94DF8A-EE12-4046-8323-C48096D95D59}" type="sibTrans" cxnId="{F0F25883-FBEB-4D4C-8CD6-4D520B58675A}">
      <dgm:prSet/>
      <dgm:spPr/>
      <dgm:t>
        <a:bodyPr/>
        <a:lstStyle/>
        <a:p>
          <a:endParaRPr lang="en-US"/>
        </a:p>
      </dgm:t>
    </dgm:pt>
    <dgm:pt modelId="{631C61BD-D631-D24B-8D60-F9A824EDCE7C}" type="pres">
      <dgm:prSet presAssocID="{AFB6922B-602F-5542-B0B8-97817B8C350B}" presName="linear" presStyleCnt="0">
        <dgm:presLayoutVars>
          <dgm:animLvl val="lvl"/>
          <dgm:resizeHandles val="exact"/>
        </dgm:presLayoutVars>
      </dgm:prSet>
      <dgm:spPr/>
    </dgm:pt>
    <dgm:pt modelId="{B7F4CBEB-20F4-C14C-97C1-4E68E32CC408}" type="pres">
      <dgm:prSet presAssocID="{8240BB80-DE27-6045-A711-4D87BAEA543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61BD2F88-B877-2A4C-A40D-0197E5F1E70C}" type="pres">
      <dgm:prSet presAssocID="{8240BB80-DE27-6045-A711-4D87BAEA5438}" presName="childText" presStyleLbl="revTx" presStyleIdx="0" presStyleCnt="3">
        <dgm:presLayoutVars>
          <dgm:bulletEnabled val="1"/>
        </dgm:presLayoutVars>
      </dgm:prSet>
      <dgm:spPr/>
    </dgm:pt>
    <dgm:pt modelId="{4F4DB639-05CB-1F40-B7CB-E14AF7137ECB}" type="pres">
      <dgm:prSet presAssocID="{CB6DA13B-07C2-C649-9455-A827A6AD93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49C04A49-DF95-2A49-9148-53BCA4BA84CA}" type="pres">
      <dgm:prSet presAssocID="{CB6DA13B-07C2-C649-9455-A827A6AD930C}" presName="childText" presStyleLbl="revTx" presStyleIdx="1" presStyleCnt="3">
        <dgm:presLayoutVars>
          <dgm:bulletEnabled val="1"/>
        </dgm:presLayoutVars>
      </dgm:prSet>
      <dgm:spPr/>
    </dgm:pt>
    <dgm:pt modelId="{D8AB72F0-4FF6-9142-B028-596FDF4A3470}" type="pres">
      <dgm:prSet presAssocID="{99FE6785-FD7C-7142-B2A9-5A685A04EC5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30938300-B142-EE4F-AA74-FDC5562E93BE}" type="pres">
      <dgm:prSet presAssocID="{99FE6785-FD7C-7142-B2A9-5A685A04EC50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BF2F1207-6EA0-C147-B123-BE9A9E60062C}" type="presOf" srcId="{99FE6785-FD7C-7142-B2A9-5A685A04EC50}" destId="{D8AB72F0-4FF6-9142-B028-596FDF4A3470}" srcOrd="0" destOrd="0" presId="urn:microsoft.com/office/officeart/2005/8/layout/vList2"/>
    <dgm:cxn modelId="{C08EBA15-7954-4D49-9AC1-06126FE5C48B}" type="presOf" srcId="{AFB6922B-602F-5542-B0B8-97817B8C350B}" destId="{631C61BD-D631-D24B-8D60-F9A824EDCE7C}" srcOrd="0" destOrd="0" presId="urn:microsoft.com/office/officeart/2005/8/layout/vList2"/>
    <dgm:cxn modelId="{A1DA643E-6597-5144-BC5C-38D42A67B6D2}" srcId="{8240BB80-DE27-6045-A711-4D87BAEA5438}" destId="{A019FE1B-FDB6-774C-90A9-24CCB3C0D8B2}" srcOrd="2" destOrd="0" parTransId="{CC7EFBE1-0FFF-D446-9242-8BF492D72313}" sibTransId="{11C30435-F878-B64B-AF0A-94A3CA27E39D}"/>
    <dgm:cxn modelId="{ADBE8E64-B7F1-2248-B120-972563C483C2}" srcId="{99FE6785-FD7C-7142-B2A9-5A685A04EC50}" destId="{CE99F568-783C-684F-ABBD-8891A32FC75B}" srcOrd="1" destOrd="0" parTransId="{26103366-F79A-DF47-9D4C-B54D3FFB37BC}" sibTransId="{CF80DDA5-2A3A-7C4C-BB24-DB8C1CC5B422}"/>
    <dgm:cxn modelId="{7130B267-010D-0B45-A1EB-281783B37AED}" srcId="{8240BB80-DE27-6045-A711-4D87BAEA5438}" destId="{375CAF01-43DA-4C40-B920-A82F8D1702A8}" srcOrd="0" destOrd="0" parTransId="{9AA676BC-2AE4-944D-A42E-03F85EC6194A}" sibTransId="{0CF7EA00-DE78-5643-837C-BE5F550E4E82}"/>
    <dgm:cxn modelId="{D7C8BC4A-9C98-8843-962E-CD3B1CD85F91}" type="presOf" srcId="{375CAF01-43DA-4C40-B920-A82F8D1702A8}" destId="{61BD2F88-B877-2A4C-A40D-0197E5F1E70C}" srcOrd="0" destOrd="0" presId="urn:microsoft.com/office/officeart/2005/8/layout/vList2"/>
    <dgm:cxn modelId="{2F28CE4E-2396-F341-B4A8-7B032998B3E9}" srcId="{99FE6785-FD7C-7142-B2A9-5A685A04EC50}" destId="{E9E5DBE8-EE9A-4B49-AD02-7CD26C84E2C1}" srcOrd="0" destOrd="0" parTransId="{332757AA-DB58-7D4E-B068-E0DE14B5F34C}" sibTransId="{8DDF882C-7A8C-A84D-BF50-AE8987E32D27}"/>
    <dgm:cxn modelId="{F0391F51-CB09-A54D-8809-7A46C1FC4CA1}" type="presOf" srcId="{213484F1-764C-734E-8E51-131310AB87F4}" destId="{61BD2F88-B877-2A4C-A40D-0197E5F1E70C}" srcOrd="0" destOrd="1" presId="urn:microsoft.com/office/officeart/2005/8/layout/vList2"/>
    <dgm:cxn modelId="{916EFB52-8D49-8540-A91F-6CB03EC3AA01}" srcId="{8240BB80-DE27-6045-A711-4D87BAEA5438}" destId="{213484F1-764C-734E-8E51-131310AB87F4}" srcOrd="1" destOrd="0" parTransId="{FE539F4E-50D2-0243-B09A-E3F6D7077FA1}" sibTransId="{A9071CB6-15E7-C141-8567-903C65D7E821}"/>
    <dgm:cxn modelId="{367B0D53-8984-EB47-B1F7-8AF04CE59F3F}" type="presOf" srcId="{E9E5DBE8-EE9A-4B49-AD02-7CD26C84E2C1}" destId="{30938300-B142-EE4F-AA74-FDC5562E93BE}" srcOrd="0" destOrd="0" presId="urn:microsoft.com/office/officeart/2005/8/layout/vList2"/>
    <dgm:cxn modelId="{76FD3454-B6C1-DD42-9724-A8A472021044}" srcId="{CB6DA13B-07C2-C649-9455-A827A6AD930C}" destId="{8149B635-858D-4945-98FF-706A2115311E}" srcOrd="0" destOrd="0" parTransId="{A8016A12-6585-CA4F-BED6-E1E454C1E0E8}" sibTransId="{DC90F0A2-2F18-9849-A64D-02CE959DF525}"/>
    <dgm:cxn modelId="{B163BF77-31B6-1E4E-985A-17AA3BEFA2C3}" type="presOf" srcId="{4CDA1CBC-D904-E34C-B2DF-758DD8C41566}" destId="{49C04A49-DF95-2A49-9148-53BCA4BA84CA}" srcOrd="0" destOrd="1" presId="urn:microsoft.com/office/officeart/2005/8/layout/vList2"/>
    <dgm:cxn modelId="{3DA3F77C-2D52-9143-B723-59AEE5710E1D}" srcId="{AFB6922B-602F-5542-B0B8-97817B8C350B}" destId="{99FE6785-FD7C-7142-B2A9-5A685A04EC50}" srcOrd="2" destOrd="0" parTransId="{0973AC10-51CA-5743-8C3F-C829FFA10CCD}" sibTransId="{0B7D960C-81C1-684D-BE64-4C1925736840}"/>
    <dgm:cxn modelId="{F0F25883-FBEB-4D4C-8CD6-4D520B58675A}" srcId="{99FE6785-FD7C-7142-B2A9-5A685A04EC50}" destId="{CBB0DA62-3315-5543-A9EE-E35C656FDACD}" srcOrd="2" destOrd="0" parTransId="{C1B4640E-C4F7-A942-9BF7-1FC345DB4FE9}" sibTransId="{4B94DF8A-EE12-4046-8323-C48096D95D59}"/>
    <dgm:cxn modelId="{981EF189-34CD-9549-9934-BDE3C9298FCA}" srcId="{AFB6922B-602F-5542-B0B8-97817B8C350B}" destId="{8240BB80-DE27-6045-A711-4D87BAEA5438}" srcOrd="0" destOrd="0" parTransId="{66630432-D02C-5C46-BAF9-D9144376F840}" sibTransId="{98DAAC11-103E-364B-B968-0EDAA36F12D9}"/>
    <dgm:cxn modelId="{B811B591-AC98-B54F-966D-A4F800C73471}" type="presOf" srcId="{7169C19C-6ABA-FB4A-AF1C-A34F546040C2}" destId="{49C04A49-DF95-2A49-9148-53BCA4BA84CA}" srcOrd="0" destOrd="2" presId="urn:microsoft.com/office/officeart/2005/8/layout/vList2"/>
    <dgm:cxn modelId="{B197D2A5-9A5E-FA49-B4D4-97A637F952B7}" type="presOf" srcId="{CE99F568-783C-684F-ABBD-8891A32FC75B}" destId="{30938300-B142-EE4F-AA74-FDC5562E93BE}" srcOrd="0" destOrd="1" presId="urn:microsoft.com/office/officeart/2005/8/layout/vList2"/>
    <dgm:cxn modelId="{5670F2C5-6083-9543-B8EB-D0B640C435F6}" type="presOf" srcId="{CB6DA13B-07C2-C649-9455-A827A6AD930C}" destId="{4F4DB639-05CB-1F40-B7CB-E14AF7137ECB}" srcOrd="0" destOrd="0" presId="urn:microsoft.com/office/officeart/2005/8/layout/vList2"/>
    <dgm:cxn modelId="{188683CC-18A2-124A-BB4D-BC7C7F88A066}" srcId="{AFB6922B-602F-5542-B0B8-97817B8C350B}" destId="{CB6DA13B-07C2-C649-9455-A827A6AD930C}" srcOrd="1" destOrd="0" parTransId="{66CDC484-E3EC-FE40-B061-F7D271CEAAAC}" sibTransId="{E2BBF337-D633-C343-B636-B4E26C335D92}"/>
    <dgm:cxn modelId="{0CCE13CF-0538-0643-BBD1-4B8C6F82FBAA}" srcId="{CB6DA13B-07C2-C649-9455-A827A6AD930C}" destId="{7169C19C-6ABA-FB4A-AF1C-A34F546040C2}" srcOrd="2" destOrd="0" parTransId="{D26B16C1-3291-9D4C-B64E-E5EFC2C58234}" sibTransId="{DC62B9AE-8F14-F14E-8B44-E934668D2249}"/>
    <dgm:cxn modelId="{77ADE0D7-A38C-2740-A116-901A3D05A05D}" type="presOf" srcId="{A019FE1B-FDB6-774C-90A9-24CCB3C0D8B2}" destId="{61BD2F88-B877-2A4C-A40D-0197E5F1E70C}" srcOrd="0" destOrd="2" presId="urn:microsoft.com/office/officeart/2005/8/layout/vList2"/>
    <dgm:cxn modelId="{892FF5E7-68CB-4C44-8E92-1FFAEFB752DF}" type="presOf" srcId="{CBB0DA62-3315-5543-A9EE-E35C656FDACD}" destId="{30938300-B142-EE4F-AA74-FDC5562E93BE}" srcOrd="0" destOrd="2" presId="urn:microsoft.com/office/officeart/2005/8/layout/vList2"/>
    <dgm:cxn modelId="{EC8AE7E9-9F50-2840-A13F-8748C3207794}" type="presOf" srcId="{8149B635-858D-4945-98FF-706A2115311E}" destId="{49C04A49-DF95-2A49-9148-53BCA4BA84CA}" srcOrd="0" destOrd="0" presId="urn:microsoft.com/office/officeart/2005/8/layout/vList2"/>
    <dgm:cxn modelId="{B38C99EB-764E-9048-A46B-41593ADA38AC}" type="presOf" srcId="{8240BB80-DE27-6045-A711-4D87BAEA5438}" destId="{B7F4CBEB-20F4-C14C-97C1-4E68E32CC408}" srcOrd="0" destOrd="0" presId="urn:microsoft.com/office/officeart/2005/8/layout/vList2"/>
    <dgm:cxn modelId="{CF306AEF-A6C0-6F49-8D0B-68B4BAA7647B}" srcId="{CB6DA13B-07C2-C649-9455-A827A6AD930C}" destId="{4CDA1CBC-D904-E34C-B2DF-758DD8C41566}" srcOrd="1" destOrd="0" parTransId="{73A9D656-4351-8647-BFBA-BC41CADDA4AC}" sibTransId="{36D115BD-C709-AC41-8007-7915A5B17283}"/>
    <dgm:cxn modelId="{076D0056-64E8-6B41-A437-63880F85D97D}" type="presParOf" srcId="{631C61BD-D631-D24B-8D60-F9A824EDCE7C}" destId="{B7F4CBEB-20F4-C14C-97C1-4E68E32CC408}" srcOrd="0" destOrd="0" presId="urn:microsoft.com/office/officeart/2005/8/layout/vList2"/>
    <dgm:cxn modelId="{BE4B3C46-4673-CA49-AD5A-ABB237DF47FC}" type="presParOf" srcId="{631C61BD-D631-D24B-8D60-F9A824EDCE7C}" destId="{61BD2F88-B877-2A4C-A40D-0197E5F1E70C}" srcOrd="1" destOrd="0" presId="urn:microsoft.com/office/officeart/2005/8/layout/vList2"/>
    <dgm:cxn modelId="{14BC6535-55ED-F34D-8F1A-2AB3E33745FA}" type="presParOf" srcId="{631C61BD-D631-D24B-8D60-F9A824EDCE7C}" destId="{4F4DB639-05CB-1F40-B7CB-E14AF7137ECB}" srcOrd="2" destOrd="0" presId="urn:microsoft.com/office/officeart/2005/8/layout/vList2"/>
    <dgm:cxn modelId="{01792E04-E377-0C44-B435-3CE295D87B45}" type="presParOf" srcId="{631C61BD-D631-D24B-8D60-F9A824EDCE7C}" destId="{49C04A49-DF95-2A49-9148-53BCA4BA84CA}" srcOrd="3" destOrd="0" presId="urn:microsoft.com/office/officeart/2005/8/layout/vList2"/>
    <dgm:cxn modelId="{A9D636CE-DBE3-4242-ABD5-460921BF3510}" type="presParOf" srcId="{631C61BD-D631-D24B-8D60-F9A824EDCE7C}" destId="{D8AB72F0-4FF6-9142-B028-596FDF4A3470}" srcOrd="4" destOrd="0" presId="urn:microsoft.com/office/officeart/2005/8/layout/vList2"/>
    <dgm:cxn modelId="{626BEABD-5A57-8946-80CF-F740A0991126}" type="presParOf" srcId="{631C61BD-D631-D24B-8D60-F9A824EDCE7C}" destId="{30938300-B142-EE4F-AA74-FDC5562E93BE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FB6922B-602F-5542-B0B8-97817B8C350B}" type="doc">
      <dgm:prSet loTypeId="urn:microsoft.com/office/officeart/2005/8/layout/vList2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8240BB80-DE27-6045-A711-4D87BAEA5438}">
      <dgm:prSet phldrT="[Text]"/>
      <dgm:spPr/>
      <dgm:t>
        <a:bodyPr/>
        <a:lstStyle/>
        <a:p>
          <a:r>
            <a:rPr lang="en-US" dirty="0">
              <a:latin typeface="+mn-lt"/>
            </a:rPr>
            <a:t>Low – Few Users</a:t>
          </a:r>
        </a:p>
      </dgm:t>
    </dgm:pt>
    <dgm:pt modelId="{66630432-D02C-5C46-BAF9-D9144376F840}" type="parTrans" cxnId="{981EF189-34CD-9549-9934-BDE3C9298FCA}">
      <dgm:prSet/>
      <dgm:spPr/>
      <dgm:t>
        <a:bodyPr/>
        <a:lstStyle/>
        <a:p>
          <a:endParaRPr lang="en-US"/>
        </a:p>
      </dgm:t>
    </dgm:pt>
    <dgm:pt modelId="{98DAAC11-103E-364B-B968-0EDAA36F12D9}" type="sibTrans" cxnId="{981EF189-34CD-9549-9934-BDE3C9298FCA}">
      <dgm:prSet/>
      <dgm:spPr/>
      <dgm:t>
        <a:bodyPr/>
        <a:lstStyle/>
        <a:p>
          <a:endParaRPr lang="en-US"/>
        </a:p>
      </dgm:t>
    </dgm:pt>
    <dgm:pt modelId="{CB6DA13B-07C2-C649-9455-A827A6AD930C}">
      <dgm:prSet phldrT="[Text]"/>
      <dgm:spPr/>
      <dgm:t>
        <a:bodyPr/>
        <a:lstStyle/>
        <a:p>
          <a:r>
            <a:rPr lang="en-US" dirty="0">
              <a:latin typeface="+mn-lt"/>
            </a:rPr>
            <a:t>Medium – Many Users</a:t>
          </a:r>
        </a:p>
      </dgm:t>
    </dgm:pt>
    <dgm:pt modelId="{66CDC484-E3EC-FE40-B061-F7D271CEAAAC}" type="parTrans" cxnId="{188683CC-18A2-124A-BB4D-BC7C7F88A066}">
      <dgm:prSet/>
      <dgm:spPr/>
      <dgm:t>
        <a:bodyPr/>
        <a:lstStyle/>
        <a:p>
          <a:endParaRPr lang="en-US"/>
        </a:p>
      </dgm:t>
    </dgm:pt>
    <dgm:pt modelId="{E2BBF337-D633-C343-B636-B4E26C335D92}" type="sibTrans" cxnId="{188683CC-18A2-124A-BB4D-BC7C7F88A066}">
      <dgm:prSet/>
      <dgm:spPr/>
      <dgm:t>
        <a:bodyPr/>
        <a:lstStyle/>
        <a:p>
          <a:endParaRPr lang="en-US"/>
        </a:p>
      </dgm:t>
    </dgm:pt>
    <dgm:pt modelId="{99FE6785-FD7C-7142-B2A9-5A685A04EC50}">
      <dgm:prSet/>
      <dgm:spPr/>
      <dgm:t>
        <a:bodyPr/>
        <a:lstStyle/>
        <a:p>
          <a:r>
            <a:rPr lang="en-US" dirty="0">
              <a:latin typeface="+mn-lt"/>
            </a:rPr>
            <a:t>High - All or Majority of Users</a:t>
          </a:r>
        </a:p>
      </dgm:t>
    </dgm:pt>
    <dgm:pt modelId="{0973AC10-51CA-5743-8C3F-C829FFA10CCD}" type="parTrans" cxnId="{3DA3F77C-2D52-9143-B723-59AEE5710E1D}">
      <dgm:prSet/>
      <dgm:spPr/>
      <dgm:t>
        <a:bodyPr/>
        <a:lstStyle/>
        <a:p>
          <a:endParaRPr lang="en-US"/>
        </a:p>
      </dgm:t>
    </dgm:pt>
    <dgm:pt modelId="{0B7D960C-81C1-684D-BE64-4C1925736840}" type="sibTrans" cxnId="{3DA3F77C-2D52-9143-B723-59AEE5710E1D}">
      <dgm:prSet/>
      <dgm:spPr/>
      <dgm:t>
        <a:bodyPr/>
        <a:lstStyle/>
        <a:p>
          <a:endParaRPr lang="en-US"/>
        </a:p>
      </dgm:t>
    </dgm:pt>
    <dgm:pt modelId="{119EF928-9401-4341-A965-BA0B1A69F044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Isolated significance only</a:t>
          </a:r>
        </a:p>
      </dgm:t>
    </dgm:pt>
    <dgm:pt modelId="{BC9565B9-5A21-8846-B189-FAA8B53EF41D}" type="parTrans" cxnId="{0066685D-F480-2F44-97AA-12440EDE9FCA}">
      <dgm:prSet/>
      <dgm:spPr/>
      <dgm:t>
        <a:bodyPr/>
        <a:lstStyle/>
        <a:p>
          <a:endParaRPr lang="en-US"/>
        </a:p>
      </dgm:t>
    </dgm:pt>
    <dgm:pt modelId="{C1F74A1F-9C85-E44F-BB28-DD3DE39E7473}" type="sibTrans" cxnId="{0066685D-F480-2F44-97AA-12440EDE9FCA}">
      <dgm:prSet/>
      <dgm:spPr/>
      <dgm:t>
        <a:bodyPr/>
        <a:lstStyle/>
        <a:p>
          <a:endParaRPr lang="en-US"/>
        </a:p>
      </dgm:t>
    </dgm:pt>
    <dgm:pt modelId="{7EFE2AAF-112B-C746-A0C2-5AC1E66DEF53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Users can work</a:t>
          </a:r>
        </a:p>
      </dgm:t>
    </dgm:pt>
    <dgm:pt modelId="{F9A2ED45-3D3C-1E45-83C1-9C80C679B7ED}" type="parTrans" cxnId="{5611BB6B-9792-704F-A188-DE2AFB5FCB6E}">
      <dgm:prSet/>
      <dgm:spPr/>
      <dgm:t>
        <a:bodyPr/>
        <a:lstStyle/>
        <a:p>
          <a:endParaRPr lang="en-US"/>
        </a:p>
      </dgm:t>
    </dgm:pt>
    <dgm:pt modelId="{B4D559B8-2903-7341-98AC-1D1F31BC379E}" type="sibTrans" cxnId="{5611BB6B-9792-704F-A188-DE2AFB5FCB6E}">
      <dgm:prSet/>
      <dgm:spPr/>
      <dgm:t>
        <a:bodyPr/>
        <a:lstStyle/>
        <a:p>
          <a:endParaRPr lang="en-US"/>
        </a:p>
      </dgm:t>
    </dgm:pt>
    <dgm:pt modelId="{2884782A-053F-4044-8F8E-BD64397ACF23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Communication is targeted to a few groups</a:t>
          </a:r>
        </a:p>
      </dgm:t>
    </dgm:pt>
    <dgm:pt modelId="{0532258E-5587-D04F-BA9A-D057F5C65B11}" type="parTrans" cxnId="{19753DC8-5B84-374C-A9A4-91D64D9D110B}">
      <dgm:prSet/>
      <dgm:spPr/>
      <dgm:t>
        <a:bodyPr/>
        <a:lstStyle/>
        <a:p>
          <a:endParaRPr lang="en-US"/>
        </a:p>
      </dgm:t>
    </dgm:pt>
    <dgm:pt modelId="{A120D541-3E64-9344-A938-54F6CD3792BD}" type="sibTrans" cxnId="{19753DC8-5B84-374C-A9A4-91D64D9D110B}">
      <dgm:prSet/>
      <dgm:spPr/>
      <dgm:t>
        <a:bodyPr/>
        <a:lstStyle/>
        <a:p>
          <a:endParaRPr lang="en-US"/>
        </a:p>
      </dgm:t>
    </dgm:pt>
    <dgm:pt modelId="{00762D4F-1EAE-7844-9A78-587643B90A40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Neither isolated nor Enterprise significance</a:t>
          </a:r>
        </a:p>
      </dgm:t>
    </dgm:pt>
    <dgm:pt modelId="{E0861BAF-00DE-CE40-8EB6-830923F97A4C}" type="parTrans" cxnId="{8F73B65B-8E25-194D-AAC6-60BD3FD98D3C}">
      <dgm:prSet/>
      <dgm:spPr/>
      <dgm:t>
        <a:bodyPr/>
        <a:lstStyle/>
        <a:p>
          <a:endParaRPr lang="en-US"/>
        </a:p>
      </dgm:t>
    </dgm:pt>
    <dgm:pt modelId="{E4CB43FA-057D-C245-8A92-6396BC87FA03}" type="sibTrans" cxnId="{8F73B65B-8E25-194D-AAC6-60BD3FD98D3C}">
      <dgm:prSet/>
      <dgm:spPr/>
      <dgm:t>
        <a:bodyPr/>
        <a:lstStyle/>
        <a:p>
          <a:endParaRPr lang="en-US"/>
        </a:p>
      </dgm:t>
    </dgm:pt>
    <dgm:pt modelId="{EA0BF6F5-B4AA-EA48-8562-532E01F33F8D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Users can work intermittently or use workarounds</a:t>
          </a:r>
        </a:p>
      </dgm:t>
    </dgm:pt>
    <dgm:pt modelId="{8CD5A38A-F1F2-324F-88D4-A438CE460EF3}" type="parTrans" cxnId="{09086BCA-949B-7941-B7B7-8043FF9EFD63}">
      <dgm:prSet/>
      <dgm:spPr/>
      <dgm:t>
        <a:bodyPr/>
        <a:lstStyle/>
        <a:p>
          <a:endParaRPr lang="en-US"/>
        </a:p>
      </dgm:t>
    </dgm:pt>
    <dgm:pt modelId="{FF38A668-570B-F54D-8CA3-7AF93E6FEB4A}" type="sibTrans" cxnId="{09086BCA-949B-7941-B7B7-8043FF9EFD63}">
      <dgm:prSet/>
      <dgm:spPr/>
      <dgm:t>
        <a:bodyPr/>
        <a:lstStyle/>
        <a:p>
          <a:endParaRPr lang="en-US"/>
        </a:p>
      </dgm:t>
    </dgm:pt>
    <dgm:pt modelId="{679E1AB2-8A17-EE43-9149-0C52BA47EBE2}">
      <dgm:prSet phldrT="[Text]" custT="1"/>
      <dgm:spPr/>
      <dgm:t>
        <a:bodyPr/>
        <a:lstStyle/>
        <a:p>
          <a:r>
            <a:rPr lang="en-US" sz="1800" dirty="0">
              <a:latin typeface="+mn-lt"/>
            </a:rPr>
            <a:t>Communication is targeted to many groups but may not be across the Enterprise  </a:t>
          </a:r>
        </a:p>
      </dgm:t>
    </dgm:pt>
    <dgm:pt modelId="{CAC6A1BC-58DF-604A-9927-4C9782912236}" type="parTrans" cxnId="{23FACDEA-E308-884B-A46C-350B4B5DBA36}">
      <dgm:prSet/>
      <dgm:spPr/>
      <dgm:t>
        <a:bodyPr/>
        <a:lstStyle/>
        <a:p>
          <a:endParaRPr lang="en-US"/>
        </a:p>
      </dgm:t>
    </dgm:pt>
    <dgm:pt modelId="{7FA61AD7-1A98-2245-A32F-AA667BFAD295}" type="sibTrans" cxnId="{23FACDEA-E308-884B-A46C-350B4B5DBA36}">
      <dgm:prSet/>
      <dgm:spPr/>
      <dgm:t>
        <a:bodyPr/>
        <a:lstStyle/>
        <a:p>
          <a:endParaRPr lang="en-US"/>
        </a:p>
      </dgm:t>
    </dgm:pt>
    <dgm:pt modelId="{1144E1BA-22EE-684D-8C30-36B60B5D5BF9}">
      <dgm:prSet custT="1"/>
      <dgm:spPr/>
      <dgm:t>
        <a:bodyPr/>
        <a:lstStyle/>
        <a:p>
          <a:r>
            <a:rPr lang="en-US" sz="1800" dirty="0">
              <a:latin typeface="+mn-lt"/>
            </a:rPr>
            <a:t>Enterprise-wide significance</a:t>
          </a:r>
        </a:p>
      </dgm:t>
    </dgm:pt>
    <dgm:pt modelId="{0B35459C-0A7E-6441-9E87-628A1AA0273C}" type="parTrans" cxnId="{B78656C5-EB38-894D-8481-0092B4573BD5}">
      <dgm:prSet/>
      <dgm:spPr/>
      <dgm:t>
        <a:bodyPr/>
        <a:lstStyle/>
        <a:p>
          <a:endParaRPr lang="en-US"/>
        </a:p>
      </dgm:t>
    </dgm:pt>
    <dgm:pt modelId="{88E2A8E2-35D9-B340-9ACC-B0B0A90CC972}" type="sibTrans" cxnId="{B78656C5-EB38-894D-8481-0092B4573BD5}">
      <dgm:prSet/>
      <dgm:spPr/>
      <dgm:t>
        <a:bodyPr/>
        <a:lstStyle/>
        <a:p>
          <a:endParaRPr lang="en-US"/>
        </a:p>
      </dgm:t>
    </dgm:pt>
    <dgm:pt modelId="{7DF998F9-39C0-6440-A14B-0F656F668BAD}">
      <dgm:prSet custT="1"/>
      <dgm:spPr/>
      <dgm:t>
        <a:bodyPr/>
        <a:lstStyle/>
        <a:p>
          <a:r>
            <a:rPr lang="en-US" sz="1800" dirty="0">
              <a:latin typeface="+mn-lt"/>
            </a:rPr>
            <a:t>User can work intermittently, use workarounds, or cannot work</a:t>
          </a:r>
        </a:p>
      </dgm:t>
    </dgm:pt>
    <dgm:pt modelId="{38F234AE-51FF-EA48-87BA-35643057D529}" type="parTrans" cxnId="{DF81649C-9D54-904B-974A-233856700CCA}">
      <dgm:prSet/>
      <dgm:spPr/>
      <dgm:t>
        <a:bodyPr/>
        <a:lstStyle/>
        <a:p>
          <a:endParaRPr lang="en-US"/>
        </a:p>
      </dgm:t>
    </dgm:pt>
    <dgm:pt modelId="{2724F350-A4E5-1D43-8EA9-41D5FF159990}" type="sibTrans" cxnId="{DF81649C-9D54-904B-974A-233856700CCA}">
      <dgm:prSet/>
      <dgm:spPr/>
      <dgm:t>
        <a:bodyPr/>
        <a:lstStyle/>
        <a:p>
          <a:endParaRPr lang="en-US"/>
        </a:p>
      </dgm:t>
    </dgm:pt>
    <dgm:pt modelId="{FD00EECC-F06C-B843-B92F-7DF5D9B902F3}">
      <dgm:prSet custT="1"/>
      <dgm:spPr/>
      <dgm:t>
        <a:bodyPr/>
        <a:lstStyle/>
        <a:p>
          <a:r>
            <a:rPr lang="en-US" sz="1800" dirty="0">
              <a:latin typeface="+mn-lt"/>
            </a:rPr>
            <a:t>Communication is targeted across Enterprise via various channels</a:t>
          </a:r>
        </a:p>
      </dgm:t>
    </dgm:pt>
    <dgm:pt modelId="{5376EBA7-CB39-9D4D-A643-9241A4DDB5BC}" type="parTrans" cxnId="{7722E790-393B-7541-8031-587FD8936C6E}">
      <dgm:prSet/>
      <dgm:spPr/>
      <dgm:t>
        <a:bodyPr/>
        <a:lstStyle/>
        <a:p>
          <a:endParaRPr lang="en-US"/>
        </a:p>
      </dgm:t>
    </dgm:pt>
    <dgm:pt modelId="{B436933A-0A06-8E49-AE9C-77A10F5C5A08}" type="sibTrans" cxnId="{7722E790-393B-7541-8031-587FD8936C6E}">
      <dgm:prSet/>
      <dgm:spPr/>
      <dgm:t>
        <a:bodyPr/>
        <a:lstStyle/>
        <a:p>
          <a:endParaRPr lang="en-US"/>
        </a:p>
      </dgm:t>
    </dgm:pt>
    <dgm:pt modelId="{631C61BD-D631-D24B-8D60-F9A824EDCE7C}" type="pres">
      <dgm:prSet presAssocID="{AFB6922B-602F-5542-B0B8-97817B8C350B}" presName="linear" presStyleCnt="0">
        <dgm:presLayoutVars>
          <dgm:animLvl val="lvl"/>
          <dgm:resizeHandles val="exact"/>
        </dgm:presLayoutVars>
      </dgm:prSet>
      <dgm:spPr/>
    </dgm:pt>
    <dgm:pt modelId="{B7F4CBEB-20F4-C14C-97C1-4E68E32CC408}" type="pres">
      <dgm:prSet presAssocID="{8240BB80-DE27-6045-A711-4D87BAEA543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DCCFCB10-F627-004F-9F5D-2EC25E967161}" type="pres">
      <dgm:prSet presAssocID="{8240BB80-DE27-6045-A711-4D87BAEA5438}" presName="childText" presStyleLbl="revTx" presStyleIdx="0" presStyleCnt="3">
        <dgm:presLayoutVars>
          <dgm:bulletEnabled val="1"/>
        </dgm:presLayoutVars>
      </dgm:prSet>
      <dgm:spPr/>
    </dgm:pt>
    <dgm:pt modelId="{4F4DB639-05CB-1F40-B7CB-E14AF7137ECB}" type="pres">
      <dgm:prSet presAssocID="{CB6DA13B-07C2-C649-9455-A827A6AD930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6911CAAF-D760-0746-82EB-869070D4113E}" type="pres">
      <dgm:prSet presAssocID="{CB6DA13B-07C2-C649-9455-A827A6AD930C}" presName="childText" presStyleLbl="revTx" presStyleIdx="1" presStyleCnt="3">
        <dgm:presLayoutVars>
          <dgm:bulletEnabled val="1"/>
        </dgm:presLayoutVars>
      </dgm:prSet>
      <dgm:spPr/>
    </dgm:pt>
    <dgm:pt modelId="{D8AB72F0-4FF6-9142-B028-596FDF4A3470}" type="pres">
      <dgm:prSet presAssocID="{99FE6785-FD7C-7142-B2A9-5A685A04EC5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E5F17FA5-B978-FE45-B1DA-EB9A14772D24}" type="pres">
      <dgm:prSet presAssocID="{99FE6785-FD7C-7142-B2A9-5A685A04EC50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7F8BC301-28DB-6C4F-8193-D9FCAEF6945E}" type="presOf" srcId="{00762D4F-1EAE-7844-9A78-587643B90A40}" destId="{6911CAAF-D760-0746-82EB-869070D4113E}" srcOrd="0" destOrd="0" presId="urn:microsoft.com/office/officeart/2005/8/layout/vList2"/>
    <dgm:cxn modelId="{BF2F1207-6EA0-C147-B123-BE9A9E60062C}" type="presOf" srcId="{99FE6785-FD7C-7142-B2A9-5A685A04EC50}" destId="{D8AB72F0-4FF6-9142-B028-596FDF4A3470}" srcOrd="0" destOrd="0" presId="urn:microsoft.com/office/officeart/2005/8/layout/vList2"/>
    <dgm:cxn modelId="{34408410-4321-5240-B8BB-1198EA214C4C}" type="presOf" srcId="{7EFE2AAF-112B-C746-A0C2-5AC1E66DEF53}" destId="{DCCFCB10-F627-004F-9F5D-2EC25E967161}" srcOrd="0" destOrd="1" presId="urn:microsoft.com/office/officeart/2005/8/layout/vList2"/>
    <dgm:cxn modelId="{E8AD3414-7220-0B48-8256-159A2653BBF0}" type="presOf" srcId="{7DF998F9-39C0-6440-A14B-0F656F668BAD}" destId="{E5F17FA5-B978-FE45-B1DA-EB9A14772D24}" srcOrd="0" destOrd="1" presId="urn:microsoft.com/office/officeart/2005/8/layout/vList2"/>
    <dgm:cxn modelId="{C08EBA15-7954-4D49-9AC1-06126FE5C48B}" type="presOf" srcId="{AFB6922B-602F-5542-B0B8-97817B8C350B}" destId="{631C61BD-D631-D24B-8D60-F9A824EDCE7C}" srcOrd="0" destOrd="0" presId="urn:microsoft.com/office/officeart/2005/8/layout/vList2"/>
    <dgm:cxn modelId="{5C06AD22-EDC2-FB47-9934-FC6FC0B7757E}" type="presOf" srcId="{FD00EECC-F06C-B843-B92F-7DF5D9B902F3}" destId="{E5F17FA5-B978-FE45-B1DA-EB9A14772D24}" srcOrd="0" destOrd="2" presId="urn:microsoft.com/office/officeart/2005/8/layout/vList2"/>
    <dgm:cxn modelId="{8F73B65B-8E25-194D-AAC6-60BD3FD98D3C}" srcId="{CB6DA13B-07C2-C649-9455-A827A6AD930C}" destId="{00762D4F-1EAE-7844-9A78-587643B90A40}" srcOrd="0" destOrd="0" parTransId="{E0861BAF-00DE-CE40-8EB6-830923F97A4C}" sibTransId="{E4CB43FA-057D-C245-8A92-6396BC87FA03}"/>
    <dgm:cxn modelId="{0066685D-F480-2F44-97AA-12440EDE9FCA}" srcId="{8240BB80-DE27-6045-A711-4D87BAEA5438}" destId="{119EF928-9401-4341-A965-BA0B1A69F044}" srcOrd="0" destOrd="0" parTransId="{BC9565B9-5A21-8846-B189-FAA8B53EF41D}" sibTransId="{C1F74A1F-9C85-E44F-BB28-DD3DE39E7473}"/>
    <dgm:cxn modelId="{5611BB6B-9792-704F-A188-DE2AFB5FCB6E}" srcId="{8240BB80-DE27-6045-A711-4D87BAEA5438}" destId="{7EFE2AAF-112B-C746-A0C2-5AC1E66DEF53}" srcOrd="1" destOrd="0" parTransId="{F9A2ED45-3D3C-1E45-83C1-9C80C679B7ED}" sibTransId="{B4D559B8-2903-7341-98AC-1D1F31BC379E}"/>
    <dgm:cxn modelId="{6DF7364C-2BD0-DF4A-9165-C17133E13022}" type="presOf" srcId="{679E1AB2-8A17-EE43-9149-0C52BA47EBE2}" destId="{6911CAAF-D760-0746-82EB-869070D4113E}" srcOrd="0" destOrd="2" presId="urn:microsoft.com/office/officeart/2005/8/layout/vList2"/>
    <dgm:cxn modelId="{DD9D7A6D-B9C8-7546-B456-F3567460D644}" type="presOf" srcId="{EA0BF6F5-B4AA-EA48-8562-532E01F33F8D}" destId="{6911CAAF-D760-0746-82EB-869070D4113E}" srcOrd="0" destOrd="1" presId="urn:microsoft.com/office/officeart/2005/8/layout/vList2"/>
    <dgm:cxn modelId="{FCB8CE76-994F-6448-80FB-385B498188D4}" type="presOf" srcId="{119EF928-9401-4341-A965-BA0B1A69F044}" destId="{DCCFCB10-F627-004F-9F5D-2EC25E967161}" srcOrd="0" destOrd="0" presId="urn:microsoft.com/office/officeart/2005/8/layout/vList2"/>
    <dgm:cxn modelId="{3DA3F77C-2D52-9143-B723-59AEE5710E1D}" srcId="{AFB6922B-602F-5542-B0B8-97817B8C350B}" destId="{99FE6785-FD7C-7142-B2A9-5A685A04EC50}" srcOrd="2" destOrd="0" parTransId="{0973AC10-51CA-5743-8C3F-C829FFA10CCD}" sibTransId="{0B7D960C-81C1-684D-BE64-4C1925736840}"/>
    <dgm:cxn modelId="{981EF189-34CD-9549-9934-BDE3C9298FCA}" srcId="{AFB6922B-602F-5542-B0B8-97817B8C350B}" destId="{8240BB80-DE27-6045-A711-4D87BAEA5438}" srcOrd="0" destOrd="0" parTransId="{66630432-D02C-5C46-BAF9-D9144376F840}" sibTransId="{98DAAC11-103E-364B-B968-0EDAA36F12D9}"/>
    <dgm:cxn modelId="{7722E790-393B-7541-8031-587FD8936C6E}" srcId="{99FE6785-FD7C-7142-B2A9-5A685A04EC50}" destId="{FD00EECC-F06C-B843-B92F-7DF5D9B902F3}" srcOrd="2" destOrd="0" parTransId="{5376EBA7-CB39-9D4D-A643-9241A4DDB5BC}" sibTransId="{B436933A-0A06-8E49-AE9C-77A10F5C5A08}"/>
    <dgm:cxn modelId="{93D91793-7FEE-4E41-9DBA-E644BC4C213E}" type="presOf" srcId="{2884782A-053F-4044-8F8E-BD64397ACF23}" destId="{DCCFCB10-F627-004F-9F5D-2EC25E967161}" srcOrd="0" destOrd="2" presId="urn:microsoft.com/office/officeart/2005/8/layout/vList2"/>
    <dgm:cxn modelId="{0FB9CF99-A75B-1745-AA9E-EA1A6D2E8255}" type="presOf" srcId="{1144E1BA-22EE-684D-8C30-36B60B5D5BF9}" destId="{E5F17FA5-B978-FE45-B1DA-EB9A14772D24}" srcOrd="0" destOrd="0" presId="urn:microsoft.com/office/officeart/2005/8/layout/vList2"/>
    <dgm:cxn modelId="{DF81649C-9D54-904B-974A-233856700CCA}" srcId="{99FE6785-FD7C-7142-B2A9-5A685A04EC50}" destId="{7DF998F9-39C0-6440-A14B-0F656F668BAD}" srcOrd="1" destOrd="0" parTransId="{38F234AE-51FF-EA48-87BA-35643057D529}" sibTransId="{2724F350-A4E5-1D43-8EA9-41D5FF159990}"/>
    <dgm:cxn modelId="{B78656C5-EB38-894D-8481-0092B4573BD5}" srcId="{99FE6785-FD7C-7142-B2A9-5A685A04EC50}" destId="{1144E1BA-22EE-684D-8C30-36B60B5D5BF9}" srcOrd="0" destOrd="0" parTransId="{0B35459C-0A7E-6441-9E87-628A1AA0273C}" sibTransId="{88E2A8E2-35D9-B340-9ACC-B0B0A90CC972}"/>
    <dgm:cxn modelId="{5670F2C5-6083-9543-B8EB-D0B640C435F6}" type="presOf" srcId="{CB6DA13B-07C2-C649-9455-A827A6AD930C}" destId="{4F4DB639-05CB-1F40-B7CB-E14AF7137ECB}" srcOrd="0" destOrd="0" presId="urn:microsoft.com/office/officeart/2005/8/layout/vList2"/>
    <dgm:cxn modelId="{19753DC8-5B84-374C-A9A4-91D64D9D110B}" srcId="{8240BB80-DE27-6045-A711-4D87BAEA5438}" destId="{2884782A-053F-4044-8F8E-BD64397ACF23}" srcOrd="2" destOrd="0" parTransId="{0532258E-5587-D04F-BA9A-D057F5C65B11}" sibTransId="{A120D541-3E64-9344-A938-54F6CD3792BD}"/>
    <dgm:cxn modelId="{09086BCA-949B-7941-B7B7-8043FF9EFD63}" srcId="{CB6DA13B-07C2-C649-9455-A827A6AD930C}" destId="{EA0BF6F5-B4AA-EA48-8562-532E01F33F8D}" srcOrd="1" destOrd="0" parTransId="{8CD5A38A-F1F2-324F-88D4-A438CE460EF3}" sibTransId="{FF38A668-570B-F54D-8CA3-7AF93E6FEB4A}"/>
    <dgm:cxn modelId="{188683CC-18A2-124A-BB4D-BC7C7F88A066}" srcId="{AFB6922B-602F-5542-B0B8-97817B8C350B}" destId="{CB6DA13B-07C2-C649-9455-A827A6AD930C}" srcOrd="1" destOrd="0" parTransId="{66CDC484-E3EC-FE40-B061-F7D271CEAAAC}" sibTransId="{E2BBF337-D633-C343-B636-B4E26C335D92}"/>
    <dgm:cxn modelId="{23FACDEA-E308-884B-A46C-350B4B5DBA36}" srcId="{CB6DA13B-07C2-C649-9455-A827A6AD930C}" destId="{679E1AB2-8A17-EE43-9149-0C52BA47EBE2}" srcOrd="2" destOrd="0" parTransId="{CAC6A1BC-58DF-604A-9927-4C9782912236}" sibTransId="{7FA61AD7-1A98-2245-A32F-AA667BFAD295}"/>
    <dgm:cxn modelId="{B38C99EB-764E-9048-A46B-41593ADA38AC}" type="presOf" srcId="{8240BB80-DE27-6045-A711-4D87BAEA5438}" destId="{B7F4CBEB-20F4-C14C-97C1-4E68E32CC408}" srcOrd="0" destOrd="0" presId="urn:microsoft.com/office/officeart/2005/8/layout/vList2"/>
    <dgm:cxn modelId="{076D0056-64E8-6B41-A437-63880F85D97D}" type="presParOf" srcId="{631C61BD-D631-D24B-8D60-F9A824EDCE7C}" destId="{B7F4CBEB-20F4-C14C-97C1-4E68E32CC408}" srcOrd="0" destOrd="0" presId="urn:microsoft.com/office/officeart/2005/8/layout/vList2"/>
    <dgm:cxn modelId="{84534295-0E8B-8949-B305-2540588E7994}" type="presParOf" srcId="{631C61BD-D631-D24B-8D60-F9A824EDCE7C}" destId="{DCCFCB10-F627-004F-9F5D-2EC25E967161}" srcOrd="1" destOrd="0" presId="urn:microsoft.com/office/officeart/2005/8/layout/vList2"/>
    <dgm:cxn modelId="{14BC6535-55ED-F34D-8F1A-2AB3E33745FA}" type="presParOf" srcId="{631C61BD-D631-D24B-8D60-F9A824EDCE7C}" destId="{4F4DB639-05CB-1F40-B7CB-E14AF7137ECB}" srcOrd="2" destOrd="0" presId="urn:microsoft.com/office/officeart/2005/8/layout/vList2"/>
    <dgm:cxn modelId="{57961C69-5515-9341-AC2A-CFE09FF03E78}" type="presParOf" srcId="{631C61BD-D631-D24B-8D60-F9A824EDCE7C}" destId="{6911CAAF-D760-0746-82EB-869070D4113E}" srcOrd="3" destOrd="0" presId="urn:microsoft.com/office/officeart/2005/8/layout/vList2"/>
    <dgm:cxn modelId="{A9D636CE-DBE3-4242-ABD5-460921BF3510}" type="presParOf" srcId="{631C61BD-D631-D24B-8D60-F9A824EDCE7C}" destId="{D8AB72F0-4FF6-9142-B028-596FDF4A3470}" srcOrd="4" destOrd="0" presId="urn:microsoft.com/office/officeart/2005/8/layout/vList2"/>
    <dgm:cxn modelId="{CC5031EC-EC86-0146-9F4C-3D862E10A0FA}" type="presParOf" srcId="{631C61BD-D631-D24B-8D60-F9A824EDCE7C}" destId="{E5F17FA5-B978-FE45-B1DA-EB9A14772D24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4201276-75C2-6840-9961-9CBEA1605058}" type="doc">
      <dgm:prSet loTypeId="urn:microsoft.com/office/officeart/2005/8/layout/vList5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8660C905-1917-E446-B52C-4B7872881310}">
      <dgm:prSet phldrT="[Text]"/>
      <dgm:spPr/>
      <dgm:t>
        <a:bodyPr/>
        <a:lstStyle/>
        <a:p>
          <a:r>
            <a:rPr lang="en-US" dirty="0">
              <a:latin typeface="+mn-lt"/>
            </a:rPr>
            <a:t>Minor</a:t>
          </a:r>
        </a:p>
      </dgm:t>
    </dgm:pt>
    <dgm:pt modelId="{96937844-996C-6F41-9B8D-20C7E45AF22C}" type="parTrans" cxnId="{545AFC7A-A29F-9444-8082-DC393BAAE0A2}">
      <dgm:prSet/>
      <dgm:spPr/>
      <dgm:t>
        <a:bodyPr/>
        <a:lstStyle/>
        <a:p>
          <a:endParaRPr lang="en-US"/>
        </a:p>
      </dgm:t>
    </dgm:pt>
    <dgm:pt modelId="{EE868451-08FE-5D4F-8ABA-003C45472552}" type="sibTrans" cxnId="{545AFC7A-A29F-9444-8082-DC393BAAE0A2}">
      <dgm:prSet/>
      <dgm:spPr/>
      <dgm:t>
        <a:bodyPr/>
        <a:lstStyle/>
        <a:p>
          <a:endParaRPr lang="en-US"/>
        </a:p>
      </dgm:t>
    </dgm:pt>
    <dgm:pt modelId="{09A4A509-3B49-3B4E-AF3F-F104E8F83338}">
      <dgm:prSet phldrT="[Text]"/>
      <dgm:spPr/>
      <dgm:t>
        <a:bodyPr/>
        <a:lstStyle/>
        <a:p>
          <a:r>
            <a:rPr lang="en-US" dirty="0">
              <a:latin typeface="+mn-lt"/>
            </a:rPr>
            <a:t>Minimum 2 days</a:t>
          </a:r>
        </a:p>
      </dgm:t>
    </dgm:pt>
    <dgm:pt modelId="{BC412F9A-712E-C641-8C56-98304021BFD7}" type="parTrans" cxnId="{14092924-8B1B-C247-B4ED-B06F7CCD5797}">
      <dgm:prSet/>
      <dgm:spPr/>
      <dgm:t>
        <a:bodyPr/>
        <a:lstStyle/>
        <a:p>
          <a:endParaRPr lang="en-US"/>
        </a:p>
      </dgm:t>
    </dgm:pt>
    <dgm:pt modelId="{BB48D0F7-912F-1F43-AE8D-82F00679367B}" type="sibTrans" cxnId="{14092924-8B1B-C247-B4ED-B06F7CCD5797}">
      <dgm:prSet/>
      <dgm:spPr/>
      <dgm:t>
        <a:bodyPr/>
        <a:lstStyle/>
        <a:p>
          <a:endParaRPr lang="en-US"/>
        </a:p>
      </dgm:t>
    </dgm:pt>
    <dgm:pt modelId="{1C2E48EF-283D-EF4B-81FF-99B190DA188F}">
      <dgm:prSet phldrT="[Text]"/>
      <dgm:spPr/>
      <dgm:t>
        <a:bodyPr/>
        <a:lstStyle/>
        <a:p>
          <a:r>
            <a:rPr lang="en-US" dirty="0">
              <a:latin typeface="+mn-lt"/>
            </a:rPr>
            <a:t>Significant</a:t>
          </a:r>
        </a:p>
      </dgm:t>
    </dgm:pt>
    <dgm:pt modelId="{A1AAA2B0-6F15-514A-87BA-1FEDF2F170E1}" type="parTrans" cxnId="{57C24864-A81D-1745-8122-B952DE00A166}">
      <dgm:prSet/>
      <dgm:spPr/>
      <dgm:t>
        <a:bodyPr/>
        <a:lstStyle/>
        <a:p>
          <a:endParaRPr lang="en-US"/>
        </a:p>
      </dgm:t>
    </dgm:pt>
    <dgm:pt modelId="{3096AE85-38AD-AB47-ACE9-A8B4F072A67E}" type="sibTrans" cxnId="{57C24864-A81D-1745-8122-B952DE00A166}">
      <dgm:prSet/>
      <dgm:spPr/>
      <dgm:t>
        <a:bodyPr/>
        <a:lstStyle/>
        <a:p>
          <a:endParaRPr lang="en-US"/>
        </a:p>
      </dgm:t>
    </dgm:pt>
    <dgm:pt modelId="{84D973D0-AA04-5C4B-89A1-72CA97D84E02}">
      <dgm:prSet phldrT="[Text]"/>
      <dgm:spPr/>
      <dgm:t>
        <a:bodyPr/>
        <a:lstStyle/>
        <a:p>
          <a:r>
            <a:rPr lang="en-US" dirty="0">
              <a:latin typeface="+mn-lt"/>
            </a:rPr>
            <a:t>Minimum 7 days</a:t>
          </a:r>
        </a:p>
      </dgm:t>
    </dgm:pt>
    <dgm:pt modelId="{5AC7F765-6B50-364B-A73D-78CB8FB22EFF}" type="parTrans" cxnId="{0A1C5A3B-5096-A04E-B983-E1B7C724B036}">
      <dgm:prSet/>
      <dgm:spPr/>
      <dgm:t>
        <a:bodyPr/>
        <a:lstStyle/>
        <a:p>
          <a:endParaRPr lang="en-US"/>
        </a:p>
      </dgm:t>
    </dgm:pt>
    <dgm:pt modelId="{9BFC3283-73B6-0B42-B2C3-DF297CA37A44}" type="sibTrans" cxnId="{0A1C5A3B-5096-A04E-B983-E1B7C724B036}">
      <dgm:prSet/>
      <dgm:spPr/>
      <dgm:t>
        <a:bodyPr/>
        <a:lstStyle/>
        <a:p>
          <a:endParaRPr lang="en-US"/>
        </a:p>
      </dgm:t>
    </dgm:pt>
    <dgm:pt modelId="{CA4B8A40-8DEB-F644-8B35-A1518FCB6FF1}">
      <dgm:prSet phldrT="[Text]"/>
      <dgm:spPr/>
      <dgm:t>
        <a:bodyPr/>
        <a:lstStyle/>
        <a:p>
          <a:r>
            <a:rPr lang="en-US" dirty="0">
              <a:latin typeface="+mn-lt"/>
            </a:rPr>
            <a:t>Major</a:t>
          </a:r>
        </a:p>
      </dgm:t>
    </dgm:pt>
    <dgm:pt modelId="{3D1B90E9-72A4-6E4C-BC26-4D08B3E10350}" type="parTrans" cxnId="{DF07B14C-9518-5241-BE8D-AF4AF428AA0C}">
      <dgm:prSet/>
      <dgm:spPr/>
      <dgm:t>
        <a:bodyPr/>
        <a:lstStyle/>
        <a:p>
          <a:endParaRPr lang="en-US"/>
        </a:p>
      </dgm:t>
    </dgm:pt>
    <dgm:pt modelId="{C7B4A3C1-3907-1F4F-BA24-6FBE465C3874}" type="sibTrans" cxnId="{DF07B14C-9518-5241-BE8D-AF4AF428AA0C}">
      <dgm:prSet/>
      <dgm:spPr/>
      <dgm:t>
        <a:bodyPr/>
        <a:lstStyle/>
        <a:p>
          <a:endParaRPr lang="en-US"/>
        </a:p>
      </dgm:t>
    </dgm:pt>
    <dgm:pt modelId="{B6A174A2-4627-4F43-A955-AC0CE125C551}">
      <dgm:prSet phldrT="[Text]"/>
      <dgm:spPr/>
      <dgm:t>
        <a:bodyPr/>
        <a:lstStyle/>
        <a:p>
          <a:r>
            <a:rPr lang="en-US" dirty="0">
              <a:latin typeface="+mn-lt"/>
            </a:rPr>
            <a:t>Minimum 30 days</a:t>
          </a:r>
        </a:p>
      </dgm:t>
    </dgm:pt>
    <dgm:pt modelId="{AFE31C68-53BD-C64B-9F88-1ED45942C185}" type="parTrans" cxnId="{C53936B4-3E42-6746-91C1-98640052A485}">
      <dgm:prSet/>
      <dgm:spPr/>
      <dgm:t>
        <a:bodyPr/>
        <a:lstStyle/>
        <a:p>
          <a:endParaRPr lang="en-US"/>
        </a:p>
      </dgm:t>
    </dgm:pt>
    <dgm:pt modelId="{D64F3531-F0FD-2C4E-A099-1FD89DC3C825}" type="sibTrans" cxnId="{C53936B4-3E42-6746-91C1-98640052A485}">
      <dgm:prSet/>
      <dgm:spPr/>
      <dgm:t>
        <a:bodyPr/>
        <a:lstStyle/>
        <a:p>
          <a:endParaRPr lang="en-US"/>
        </a:p>
      </dgm:t>
    </dgm:pt>
    <dgm:pt modelId="{9EDD4F10-5935-3843-8AC3-0D93911EAE89}" type="pres">
      <dgm:prSet presAssocID="{94201276-75C2-6840-9961-9CBEA1605058}" presName="Name0" presStyleCnt="0">
        <dgm:presLayoutVars>
          <dgm:dir/>
          <dgm:animLvl val="lvl"/>
          <dgm:resizeHandles val="exact"/>
        </dgm:presLayoutVars>
      </dgm:prSet>
      <dgm:spPr/>
    </dgm:pt>
    <dgm:pt modelId="{A19D90A9-AAAC-604A-91B4-D50D5F78B786}" type="pres">
      <dgm:prSet presAssocID="{8660C905-1917-E446-B52C-4B7872881310}" presName="linNode" presStyleCnt="0"/>
      <dgm:spPr/>
    </dgm:pt>
    <dgm:pt modelId="{AE9276E2-439C-EC44-A076-EF121A404DDC}" type="pres">
      <dgm:prSet presAssocID="{8660C905-1917-E446-B52C-4B7872881310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D48964C4-087E-1E4B-A10F-0C25B955F02B}" type="pres">
      <dgm:prSet presAssocID="{8660C905-1917-E446-B52C-4B7872881310}" presName="descendantText" presStyleLbl="alignAccFollowNode1" presStyleIdx="0" presStyleCnt="3">
        <dgm:presLayoutVars>
          <dgm:bulletEnabled val="1"/>
        </dgm:presLayoutVars>
      </dgm:prSet>
      <dgm:spPr/>
    </dgm:pt>
    <dgm:pt modelId="{3CFD554C-AD68-3445-81D2-5738826A0A7A}" type="pres">
      <dgm:prSet presAssocID="{EE868451-08FE-5D4F-8ABA-003C45472552}" presName="sp" presStyleCnt="0"/>
      <dgm:spPr/>
    </dgm:pt>
    <dgm:pt modelId="{4C425C76-B878-AC46-A1E9-49DC0F1ADCAB}" type="pres">
      <dgm:prSet presAssocID="{1C2E48EF-283D-EF4B-81FF-99B190DA188F}" presName="linNode" presStyleCnt="0"/>
      <dgm:spPr/>
    </dgm:pt>
    <dgm:pt modelId="{8177017C-124B-6B4E-9A24-04A498D477A5}" type="pres">
      <dgm:prSet presAssocID="{1C2E48EF-283D-EF4B-81FF-99B190DA188F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5DF7433A-63EE-9A4B-BBF8-9BB47C1887DC}" type="pres">
      <dgm:prSet presAssocID="{1C2E48EF-283D-EF4B-81FF-99B190DA188F}" presName="descendantText" presStyleLbl="alignAccFollowNode1" presStyleIdx="1" presStyleCnt="3">
        <dgm:presLayoutVars>
          <dgm:bulletEnabled val="1"/>
        </dgm:presLayoutVars>
      </dgm:prSet>
      <dgm:spPr/>
    </dgm:pt>
    <dgm:pt modelId="{3E606564-1E50-444B-9EF4-42FAF7337495}" type="pres">
      <dgm:prSet presAssocID="{3096AE85-38AD-AB47-ACE9-A8B4F072A67E}" presName="sp" presStyleCnt="0"/>
      <dgm:spPr/>
    </dgm:pt>
    <dgm:pt modelId="{9D137362-ACC7-F04D-8ECD-E61DED738B02}" type="pres">
      <dgm:prSet presAssocID="{CA4B8A40-8DEB-F644-8B35-A1518FCB6FF1}" presName="linNode" presStyleCnt="0"/>
      <dgm:spPr/>
    </dgm:pt>
    <dgm:pt modelId="{613B55EB-9CD4-6E44-AC7D-64E213E5A849}" type="pres">
      <dgm:prSet presAssocID="{CA4B8A40-8DEB-F644-8B35-A1518FCB6FF1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3FCE7337-F6AE-8343-830C-AF2784A103AF}" type="pres">
      <dgm:prSet presAssocID="{CA4B8A40-8DEB-F644-8B35-A1518FCB6FF1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14092924-8B1B-C247-B4ED-B06F7CCD5797}" srcId="{8660C905-1917-E446-B52C-4B7872881310}" destId="{09A4A509-3B49-3B4E-AF3F-F104E8F83338}" srcOrd="0" destOrd="0" parTransId="{BC412F9A-712E-C641-8C56-98304021BFD7}" sibTransId="{BB48D0F7-912F-1F43-AE8D-82F00679367B}"/>
    <dgm:cxn modelId="{237C2B25-D4E5-1847-8F6C-D027244F0EA2}" type="presOf" srcId="{1C2E48EF-283D-EF4B-81FF-99B190DA188F}" destId="{8177017C-124B-6B4E-9A24-04A498D477A5}" srcOrd="0" destOrd="0" presId="urn:microsoft.com/office/officeart/2005/8/layout/vList5"/>
    <dgm:cxn modelId="{0A1C5A3B-5096-A04E-B983-E1B7C724B036}" srcId="{1C2E48EF-283D-EF4B-81FF-99B190DA188F}" destId="{84D973D0-AA04-5C4B-89A1-72CA97D84E02}" srcOrd="0" destOrd="0" parTransId="{5AC7F765-6B50-364B-A73D-78CB8FB22EFF}" sibTransId="{9BFC3283-73B6-0B42-B2C3-DF297CA37A44}"/>
    <dgm:cxn modelId="{30EBC862-B34D-FB49-9426-038567108FDC}" type="presOf" srcId="{8660C905-1917-E446-B52C-4B7872881310}" destId="{AE9276E2-439C-EC44-A076-EF121A404DDC}" srcOrd="0" destOrd="0" presId="urn:microsoft.com/office/officeart/2005/8/layout/vList5"/>
    <dgm:cxn modelId="{57C24864-A81D-1745-8122-B952DE00A166}" srcId="{94201276-75C2-6840-9961-9CBEA1605058}" destId="{1C2E48EF-283D-EF4B-81FF-99B190DA188F}" srcOrd="1" destOrd="0" parTransId="{A1AAA2B0-6F15-514A-87BA-1FEDF2F170E1}" sibTransId="{3096AE85-38AD-AB47-ACE9-A8B4F072A67E}"/>
    <dgm:cxn modelId="{DF07B14C-9518-5241-BE8D-AF4AF428AA0C}" srcId="{94201276-75C2-6840-9961-9CBEA1605058}" destId="{CA4B8A40-8DEB-F644-8B35-A1518FCB6FF1}" srcOrd="2" destOrd="0" parTransId="{3D1B90E9-72A4-6E4C-BC26-4D08B3E10350}" sibTransId="{C7B4A3C1-3907-1F4F-BA24-6FBE465C3874}"/>
    <dgm:cxn modelId="{E7D1FC77-CE67-9345-9E1A-F0EAE607857B}" type="presOf" srcId="{84D973D0-AA04-5C4B-89A1-72CA97D84E02}" destId="{5DF7433A-63EE-9A4B-BBF8-9BB47C1887DC}" srcOrd="0" destOrd="0" presId="urn:microsoft.com/office/officeart/2005/8/layout/vList5"/>
    <dgm:cxn modelId="{545AFC7A-A29F-9444-8082-DC393BAAE0A2}" srcId="{94201276-75C2-6840-9961-9CBEA1605058}" destId="{8660C905-1917-E446-B52C-4B7872881310}" srcOrd="0" destOrd="0" parTransId="{96937844-996C-6F41-9B8D-20C7E45AF22C}" sibTransId="{EE868451-08FE-5D4F-8ABA-003C45472552}"/>
    <dgm:cxn modelId="{74F3AE87-E2A2-FC4F-B270-D682155F7A30}" type="presOf" srcId="{09A4A509-3B49-3B4E-AF3F-F104E8F83338}" destId="{D48964C4-087E-1E4B-A10F-0C25B955F02B}" srcOrd="0" destOrd="0" presId="urn:microsoft.com/office/officeart/2005/8/layout/vList5"/>
    <dgm:cxn modelId="{75B78697-9327-0641-B3B8-905AAD9E2BE9}" type="presOf" srcId="{94201276-75C2-6840-9961-9CBEA1605058}" destId="{9EDD4F10-5935-3843-8AC3-0D93911EAE89}" srcOrd="0" destOrd="0" presId="urn:microsoft.com/office/officeart/2005/8/layout/vList5"/>
    <dgm:cxn modelId="{E1F28F9F-4F4B-1A43-996A-966168B41ACA}" type="presOf" srcId="{CA4B8A40-8DEB-F644-8B35-A1518FCB6FF1}" destId="{613B55EB-9CD4-6E44-AC7D-64E213E5A849}" srcOrd="0" destOrd="0" presId="urn:microsoft.com/office/officeart/2005/8/layout/vList5"/>
    <dgm:cxn modelId="{C53936B4-3E42-6746-91C1-98640052A485}" srcId="{CA4B8A40-8DEB-F644-8B35-A1518FCB6FF1}" destId="{B6A174A2-4627-4F43-A955-AC0CE125C551}" srcOrd="0" destOrd="0" parTransId="{AFE31C68-53BD-C64B-9F88-1ED45942C185}" sibTransId="{D64F3531-F0FD-2C4E-A099-1FD89DC3C825}"/>
    <dgm:cxn modelId="{462164BD-E90D-3A46-92F9-B6FF50B54A6D}" type="presOf" srcId="{B6A174A2-4627-4F43-A955-AC0CE125C551}" destId="{3FCE7337-F6AE-8343-830C-AF2784A103AF}" srcOrd="0" destOrd="0" presId="urn:microsoft.com/office/officeart/2005/8/layout/vList5"/>
    <dgm:cxn modelId="{36373986-3C94-7043-94D1-6119B754E602}" type="presParOf" srcId="{9EDD4F10-5935-3843-8AC3-0D93911EAE89}" destId="{A19D90A9-AAAC-604A-91B4-D50D5F78B786}" srcOrd="0" destOrd="0" presId="urn:microsoft.com/office/officeart/2005/8/layout/vList5"/>
    <dgm:cxn modelId="{C1C24D04-5ACC-CD4D-B66E-63B7643FBFCB}" type="presParOf" srcId="{A19D90A9-AAAC-604A-91B4-D50D5F78B786}" destId="{AE9276E2-439C-EC44-A076-EF121A404DDC}" srcOrd="0" destOrd="0" presId="urn:microsoft.com/office/officeart/2005/8/layout/vList5"/>
    <dgm:cxn modelId="{EA3D1E33-310D-394B-9849-91F7B7E2B748}" type="presParOf" srcId="{A19D90A9-AAAC-604A-91B4-D50D5F78B786}" destId="{D48964C4-087E-1E4B-A10F-0C25B955F02B}" srcOrd="1" destOrd="0" presId="urn:microsoft.com/office/officeart/2005/8/layout/vList5"/>
    <dgm:cxn modelId="{0A34044A-144A-C54E-B998-5154903BF2D6}" type="presParOf" srcId="{9EDD4F10-5935-3843-8AC3-0D93911EAE89}" destId="{3CFD554C-AD68-3445-81D2-5738826A0A7A}" srcOrd="1" destOrd="0" presId="urn:microsoft.com/office/officeart/2005/8/layout/vList5"/>
    <dgm:cxn modelId="{63AF4A1E-11A3-404B-A75D-46A33A96D9E6}" type="presParOf" srcId="{9EDD4F10-5935-3843-8AC3-0D93911EAE89}" destId="{4C425C76-B878-AC46-A1E9-49DC0F1ADCAB}" srcOrd="2" destOrd="0" presId="urn:microsoft.com/office/officeart/2005/8/layout/vList5"/>
    <dgm:cxn modelId="{06FB0468-DEA8-344E-9BD8-33DB2D6D20A7}" type="presParOf" srcId="{4C425C76-B878-AC46-A1E9-49DC0F1ADCAB}" destId="{8177017C-124B-6B4E-9A24-04A498D477A5}" srcOrd="0" destOrd="0" presId="urn:microsoft.com/office/officeart/2005/8/layout/vList5"/>
    <dgm:cxn modelId="{4C3FB175-C88A-CF4A-8E6C-AF34482A8941}" type="presParOf" srcId="{4C425C76-B878-AC46-A1E9-49DC0F1ADCAB}" destId="{5DF7433A-63EE-9A4B-BBF8-9BB47C1887DC}" srcOrd="1" destOrd="0" presId="urn:microsoft.com/office/officeart/2005/8/layout/vList5"/>
    <dgm:cxn modelId="{C08FDF9A-7AD7-DB48-AE10-A54BEBC49E4A}" type="presParOf" srcId="{9EDD4F10-5935-3843-8AC3-0D93911EAE89}" destId="{3E606564-1E50-444B-9EF4-42FAF7337495}" srcOrd="3" destOrd="0" presId="urn:microsoft.com/office/officeart/2005/8/layout/vList5"/>
    <dgm:cxn modelId="{182A66E7-1819-2D4F-AEF4-4C4C0A33E06D}" type="presParOf" srcId="{9EDD4F10-5935-3843-8AC3-0D93911EAE89}" destId="{9D137362-ACC7-F04D-8ECD-E61DED738B02}" srcOrd="4" destOrd="0" presId="urn:microsoft.com/office/officeart/2005/8/layout/vList5"/>
    <dgm:cxn modelId="{F4096C36-5B1F-F542-9307-6394501DD474}" type="presParOf" srcId="{9D137362-ACC7-F04D-8ECD-E61DED738B02}" destId="{613B55EB-9CD4-6E44-AC7D-64E213E5A849}" srcOrd="0" destOrd="0" presId="urn:microsoft.com/office/officeart/2005/8/layout/vList5"/>
    <dgm:cxn modelId="{5312EDCA-E3F1-8E47-853E-1DF8617E833B}" type="presParOf" srcId="{9D137362-ACC7-F04D-8ECD-E61DED738B02}" destId="{3FCE7337-F6AE-8343-830C-AF2784A103A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5C505D0-7645-6C4D-B933-CF08D7700804}" type="doc">
      <dgm:prSet loTypeId="urn:microsoft.com/office/officeart/2005/8/layout/hierarchy3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3AA0F1D-2087-2545-A85D-1888E8DDEC58}">
      <dgm:prSet phldrT="[Text]"/>
      <dgm:spPr/>
      <dgm:t>
        <a:bodyPr/>
        <a:lstStyle/>
        <a:p>
          <a:r>
            <a:rPr lang="en-US" dirty="0">
              <a:latin typeface="+mn-lt"/>
            </a:rPr>
            <a:t>Normal*</a:t>
          </a:r>
        </a:p>
      </dgm:t>
    </dgm:pt>
    <dgm:pt modelId="{4107109D-D186-004B-AB13-3C7E101FF795}" type="parTrans" cxnId="{384DDD7C-6C5D-7D48-B772-E59A304686CB}">
      <dgm:prSet/>
      <dgm:spPr/>
      <dgm:t>
        <a:bodyPr/>
        <a:lstStyle/>
        <a:p>
          <a:endParaRPr lang="en-US"/>
        </a:p>
      </dgm:t>
    </dgm:pt>
    <dgm:pt modelId="{0DB7ADD3-10D3-B946-9D2C-417EF5CF3B77}" type="sibTrans" cxnId="{384DDD7C-6C5D-7D48-B772-E59A304686CB}">
      <dgm:prSet/>
      <dgm:spPr/>
      <dgm:t>
        <a:bodyPr/>
        <a:lstStyle/>
        <a:p>
          <a:endParaRPr lang="en-US"/>
        </a:p>
      </dgm:t>
    </dgm:pt>
    <dgm:pt modelId="{EF5FC1CC-607C-B04D-9A28-C289410777EE}">
      <dgm:prSet phldrT="[Text]"/>
      <dgm:spPr/>
      <dgm:t>
        <a:bodyPr/>
        <a:lstStyle/>
        <a:p>
          <a:r>
            <a:rPr lang="en-US" b="1" dirty="0">
              <a:latin typeface="+mn-lt"/>
            </a:rPr>
            <a:t>Minor</a:t>
          </a:r>
        </a:p>
      </dgm:t>
    </dgm:pt>
    <dgm:pt modelId="{010615DC-268C-7B49-8C07-E1CE54262E5E}" type="parTrans" cxnId="{E4E40844-3FCA-684F-A3D5-C6E8AD110282}">
      <dgm:prSet/>
      <dgm:spPr/>
      <dgm:t>
        <a:bodyPr/>
        <a:lstStyle/>
        <a:p>
          <a:endParaRPr lang="en-US"/>
        </a:p>
      </dgm:t>
    </dgm:pt>
    <dgm:pt modelId="{74CF231E-CEF6-2244-8848-F242BAE2000E}" type="sibTrans" cxnId="{E4E40844-3FCA-684F-A3D5-C6E8AD110282}">
      <dgm:prSet/>
      <dgm:spPr/>
      <dgm:t>
        <a:bodyPr/>
        <a:lstStyle/>
        <a:p>
          <a:endParaRPr lang="en-US"/>
        </a:p>
      </dgm:t>
    </dgm:pt>
    <dgm:pt modelId="{C6E1B750-85A8-AD4E-915E-BF8C90D93D4F}">
      <dgm:prSet phldrT="[Text]"/>
      <dgm:spPr/>
      <dgm:t>
        <a:bodyPr/>
        <a:lstStyle/>
        <a:p>
          <a:r>
            <a:rPr lang="en-US" b="1" dirty="0">
              <a:latin typeface="+mn-lt"/>
            </a:rPr>
            <a:t>Significant</a:t>
          </a:r>
        </a:p>
      </dgm:t>
    </dgm:pt>
    <dgm:pt modelId="{0C949726-1744-CB4B-841E-B4159586C299}" type="parTrans" cxnId="{20E33D07-794C-D14D-9251-C59C73B8ABF1}">
      <dgm:prSet/>
      <dgm:spPr/>
      <dgm:t>
        <a:bodyPr/>
        <a:lstStyle/>
        <a:p>
          <a:endParaRPr lang="en-US"/>
        </a:p>
      </dgm:t>
    </dgm:pt>
    <dgm:pt modelId="{DA75456B-8B5C-294B-9EE6-935F84D395DF}" type="sibTrans" cxnId="{20E33D07-794C-D14D-9251-C59C73B8ABF1}">
      <dgm:prSet/>
      <dgm:spPr/>
      <dgm:t>
        <a:bodyPr/>
        <a:lstStyle/>
        <a:p>
          <a:endParaRPr lang="en-US"/>
        </a:p>
      </dgm:t>
    </dgm:pt>
    <dgm:pt modelId="{1C70F24A-A764-B447-959A-DE94E8EE3D98}">
      <dgm:prSet phldrT="[Text]"/>
      <dgm:spPr/>
      <dgm:t>
        <a:bodyPr/>
        <a:lstStyle/>
        <a:p>
          <a:r>
            <a:rPr lang="en-US" dirty="0">
              <a:latin typeface="+mn-lt"/>
            </a:rPr>
            <a:t>Expedited*</a:t>
          </a:r>
        </a:p>
      </dgm:t>
    </dgm:pt>
    <dgm:pt modelId="{A40DE916-3310-5944-8272-D0BD9DC946FE}" type="parTrans" cxnId="{625FD982-5EB0-F245-B0C0-7DAC5EC9F07D}">
      <dgm:prSet/>
      <dgm:spPr/>
      <dgm:t>
        <a:bodyPr/>
        <a:lstStyle/>
        <a:p>
          <a:endParaRPr lang="en-US"/>
        </a:p>
      </dgm:t>
    </dgm:pt>
    <dgm:pt modelId="{EEDAD755-A8CB-4943-9677-4645F8F3DB88}" type="sibTrans" cxnId="{625FD982-5EB0-F245-B0C0-7DAC5EC9F07D}">
      <dgm:prSet/>
      <dgm:spPr/>
      <dgm:t>
        <a:bodyPr/>
        <a:lstStyle/>
        <a:p>
          <a:endParaRPr lang="en-US"/>
        </a:p>
      </dgm:t>
    </dgm:pt>
    <dgm:pt modelId="{1C6631C0-0A44-2646-A5F3-CC42DFA0D0EC}">
      <dgm:prSet phldrT="[Text]"/>
      <dgm:spPr/>
      <dgm:t>
        <a:bodyPr/>
        <a:lstStyle/>
        <a:p>
          <a:r>
            <a:rPr lang="en-US" b="1" dirty="0">
              <a:latin typeface="+mn-lt"/>
            </a:rPr>
            <a:t>Minor</a:t>
          </a:r>
        </a:p>
      </dgm:t>
    </dgm:pt>
    <dgm:pt modelId="{164D750F-09DD-2941-B533-BDB57B668755}" type="parTrans" cxnId="{8171C3F2-731F-6246-B476-2DA9FD48EFC7}">
      <dgm:prSet/>
      <dgm:spPr/>
      <dgm:t>
        <a:bodyPr/>
        <a:lstStyle/>
        <a:p>
          <a:endParaRPr lang="en-US"/>
        </a:p>
      </dgm:t>
    </dgm:pt>
    <dgm:pt modelId="{B947FF32-4C81-6943-A84D-046D8F176281}" type="sibTrans" cxnId="{8171C3F2-731F-6246-B476-2DA9FD48EFC7}">
      <dgm:prSet/>
      <dgm:spPr/>
      <dgm:t>
        <a:bodyPr/>
        <a:lstStyle/>
        <a:p>
          <a:endParaRPr lang="en-US"/>
        </a:p>
      </dgm:t>
    </dgm:pt>
    <dgm:pt modelId="{9E668A67-E7AA-6F46-9444-9D0D29DB46E1}">
      <dgm:prSet phldrT="[Text]"/>
      <dgm:spPr/>
      <dgm:t>
        <a:bodyPr/>
        <a:lstStyle/>
        <a:p>
          <a:r>
            <a:rPr lang="en-US" b="1" dirty="0">
              <a:latin typeface="+mn-lt"/>
            </a:rPr>
            <a:t>Significant</a:t>
          </a:r>
        </a:p>
      </dgm:t>
    </dgm:pt>
    <dgm:pt modelId="{47DED6B6-377C-8F47-AA95-12F95AF9DB78}" type="parTrans" cxnId="{A6E35FAF-FEE5-E74E-93C6-9C354AF855FA}">
      <dgm:prSet/>
      <dgm:spPr/>
      <dgm:t>
        <a:bodyPr/>
        <a:lstStyle/>
        <a:p>
          <a:endParaRPr lang="en-US"/>
        </a:p>
      </dgm:t>
    </dgm:pt>
    <dgm:pt modelId="{8AA4AC8F-AD27-CB4F-B90C-5035598DA882}" type="sibTrans" cxnId="{A6E35FAF-FEE5-E74E-93C6-9C354AF855FA}">
      <dgm:prSet/>
      <dgm:spPr/>
      <dgm:t>
        <a:bodyPr/>
        <a:lstStyle/>
        <a:p>
          <a:endParaRPr lang="en-US"/>
        </a:p>
      </dgm:t>
    </dgm:pt>
    <dgm:pt modelId="{2748A272-4C22-634D-A9AC-C2D19C65AA51}">
      <dgm:prSet/>
      <dgm:spPr/>
      <dgm:t>
        <a:bodyPr/>
        <a:lstStyle/>
        <a:p>
          <a:r>
            <a:rPr lang="en-US" dirty="0">
              <a:latin typeface="+mj-lt"/>
            </a:rPr>
            <a:t>Emergency*</a:t>
          </a:r>
        </a:p>
      </dgm:t>
    </dgm:pt>
    <dgm:pt modelId="{1B7ED6D4-EB90-324C-A312-FEF539250AE3}" type="parTrans" cxnId="{BC64F003-E88C-0D47-9E80-18CEEDD53E8C}">
      <dgm:prSet/>
      <dgm:spPr/>
      <dgm:t>
        <a:bodyPr/>
        <a:lstStyle/>
        <a:p>
          <a:endParaRPr lang="en-US"/>
        </a:p>
      </dgm:t>
    </dgm:pt>
    <dgm:pt modelId="{509EDBFC-EE62-0F46-B421-095992286FEE}" type="sibTrans" cxnId="{BC64F003-E88C-0D47-9E80-18CEEDD53E8C}">
      <dgm:prSet/>
      <dgm:spPr/>
      <dgm:t>
        <a:bodyPr/>
        <a:lstStyle/>
        <a:p>
          <a:endParaRPr lang="en-US"/>
        </a:p>
      </dgm:t>
    </dgm:pt>
    <dgm:pt modelId="{F40D655B-8CBA-4C49-B900-F31782B2E893}">
      <dgm:prSet/>
      <dgm:spPr/>
      <dgm:t>
        <a:bodyPr/>
        <a:lstStyle/>
        <a:p>
          <a:r>
            <a:rPr lang="en-US" b="1" dirty="0">
              <a:latin typeface="+mn-lt"/>
            </a:rPr>
            <a:t>Significant</a:t>
          </a:r>
        </a:p>
      </dgm:t>
    </dgm:pt>
    <dgm:pt modelId="{FC77F889-D124-1146-9BE2-C0C46E21AEDD}" type="parTrans" cxnId="{1C7B27E0-4487-7248-B087-0755CA3FA979}">
      <dgm:prSet/>
      <dgm:spPr/>
      <dgm:t>
        <a:bodyPr/>
        <a:lstStyle/>
        <a:p>
          <a:endParaRPr lang="en-US"/>
        </a:p>
      </dgm:t>
    </dgm:pt>
    <dgm:pt modelId="{8DD9F1CB-4061-874D-92A5-36294F0732B2}" type="sibTrans" cxnId="{1C7B27E0-4487-7248-B087-0755CA3FA979}">
      <dgm:prSet/>
      <dgm:spPr/>
      <dgm:t>
        <a:bodyPr/>
        <a:lstStyle/>
        <a:p>
          <a:endParaRPr lang="en-US"/>
        </a:p>
      </dgm:t>
    </dgm:pt>
    <dgm:pt modelId="{6D326BAB-661B-0042-BC03-54ACD1E06AEA}">
      <dgm:prSet/>
      <dgm:spPr/>
      <dgm:t>
        <a:bodyPr/>
        <a:lstStyle/>
        <a:p>
          <a:r>
            <a:rPr lang="en-US" b="1" dirty="0">
              <a:latin typeface="+mn-lt"/>
            </a:rPr>
            <a:t>Minor</a:t>
          </a:r>
        </a:p>
      </dgm:t>
    </dgm:pt>
    <dgm:pt modelId="{A570FBBC-4F7A-EF4F-BD4D-4FC24E44F341}" type="parTrans" cxnId="{668B0B1E-F9FD-0B44-8B45-938B29F18CDC}">
      <dgm:prSet/>
      <dgm:spPr/>
      <dgm:t>
        <a:bodyPr/>
        <a:lstStyle/>
        <a:p>
          <a:endParaRPr lang="en-US"/>
        </a:p>
      </dgm:t>
    </dgm:pt>
    <dgm:pt modelId="{E417669C-945A-C543-9C6B-5E5A8BA70C55}" type="sibTrans" cxnId="{668B0B1E-F9FD-0B44-8B45-938B29F18CDC}">
      <dgm:prSet/>
      <dgm:spPr/>
      <dgm:t>
        <a:bodyPr/>
        <a:lstStyle/>
        <a:p>
          <a:endParaRPr lang="en-US"/>
        </a:p>
      </dgm:t>
    </dgm:pt>
    <dgm:pt modelId="{AE14CDDC-21EB-D84C-9F30-8A0D0980A2BA}">
      <dgm:prSet/>
      <dgm:spPr/>
      <dgm:t>
        <a:bodyPr/>
        <a:lstStyle/>
        <a:p>
          <a:r>
            <a:rPr lang="en-US" b="1" dirty="0">
              <a:latin typeface="+mj-lt"/>
            </a:rPr>
            <a:t>Major</a:t>
          </a:r>
        </a:p>
      </dgm:t>
    </dgm:pt>
    <dgm:pt modelId="{B4636997-688E-2543-BD66-9AB7B17596AD}" type="parTrans" cxnId="{36AFF1E5-E15F-0242-A200-9922456EF424}">
      <dgm:prSet/>
      <dgm:spPr/>
      <dgm:t>
        <a:bodyPr/>
        <a:lstStyle/>
        <a:p>
          <a:endParaRPr lang="en-US"/>
        </a:p>
      </dgm:t>
    </dgm:pt>
    <dgm:pt modelId="{44D30EA9-104C-EF43-8AD1-BFBF1E32FD09}" type="sibTrans" cxnId="{36AFF1E5-E15F-0242-A200-9922456EF424}">
      <dgm:prSet/>
      <dgm:spPr/>
      <dgm:t>
        <a:bodyPr/>
        <a:lstStyle/>
        <a:p>
          <a:endParaRPr lang="en-US"/>
        </a:p>
      </dgm:t>
    </dgm:pt>
    <dgm:pt modelId="{B2864E8F-215B-7644-9968-B486B7788427}">
      <dgm:prSet phldrT="[Text]"/>
      <dgm:spPr/>
      <dgm:t>
        <a:bodyPr/>
        <a:lstStyle/>
        <a:p>
          <a:r>
            <a:rPr lang="en-US" b="1" dirty="0">
              <a:latin typeface="+mn-lt"/>
            </a:rPr>
            <a:t>Major</a:t>
          </a:r>
        </a:p>
      </dgm:t>
    </dgm:pt>
    <dgm:pt modelId="{1C4C6EA8-3396-2047-8EE1-3269856CA052}" type="parTrans" cxnId="{010F2739-85AE-A646-BBD2-13D2217E22C9}">
      <dgm:prSet/>
      <dgm:spPr/>
      <dgm:t>
        <a:bodyPr/>
        <a:lstStyle/>
        <a:p>
          <a:endParaRPr lang="en-US"/>
        </a:p>
      </dgm:t>
    </dgm:pt>
    <dgm:pt modelId="{4FFE940A-D3B3-0E46-AA7B-31470ECD766F}" type="sibTrans" cxnId="{010F2739-85AE-A646-BBD2-13D2217E22C9}">
      <dgm:prSet/>
      <dgm:spPr/>
      <dgm:t>
        <a:bodyPr/>
        <a:lstStyle/>
        <a:p>
          <a:endParaRPr lang="en-US"/>
        </a:p>
      </dgm:t>
    </dgm:pt>
    <dgm:pt modelId="{1A4F6A33-4864-214C-A924-80A7270045E2}">
      <dgm:prSet/>
      <dgm:spPr/>
      <dgm:t>
        <a:bodyPr/>
        <a:lstStyle/>
        <a:p>
          <a:r>
            <a:rPr lang="en-US" b="1" dirty="0">
              <a:latin typeface="+mn-lt"/>
            </a:rPr>
            <a:t>Major</a:t>
          </a:r>
        </a:p>
      </dgm:t>
    </dgm:pt>
    <dgm:pt modelId="{B5C68D1B-E742-B84D-A535-767B86C6CAC6}" type="parTrans" cxnId="{D089E7A5-9F4A-6F44-B10E-24636E110DCC}">
      <dgm:prSet/>
      <dgm:spPr/>
      <dgm:t>
        <a:bodyPr/>
        <a:lstStyle/>
        <a:p>
          <a:endParaRPr lang="en-US"/>
        </a:p>
      </dgm:t>
    </dgm:pt>
    <dgm:pt modelId="{35ED7710-6F39-754E-A101-DE7F4B0C0116}" type="sibTrans" cxnId="{D089E7A5-9F4A-6F44-B10E-24636E110DCC}">
      <dgm:prSet/>
      <dgm:spPr/>
      <dgm:t>
        <a:bodyPr/>
        <a:lstStyle/>
        <a:p>
          <a:endParaRPr lang="en-US"/>
        </a:p>
      </dgm:t>
    </dgm:pt>
    <dgm:pt modelId="{785DF7B2-C9C3-E445-8CFC-107E3FD699E2}">
      <dgm:prSet phldrT="[Text]"/>
      <dgm:spPr/>
      <dgm:t>
        <a:bodyPr/>
        <a:lstStyle/>
        <a:p>
          <a:r>
            <a:rPr lang="en-US" b="0" dirty="0">
              <a:latin typeface="+mn-lt"/>
            </a:rPr>
            <a:t>CI Owner &amp; Manager</a:t>
          </a:r>
        </a:p>
      </dgm:t>
    </dgm:pt>
    <dgm:pt modelId="{4519C168-F977-A34D-B3DD-374440E36BD7}" type="parTrans" cxnId="{3E45A103-5081-2E4A-9B29-A04659B3A383}">
      <dgm:prSet/>
      <dgm:spPr/>
      <dgm:t>
        <a:bodyPr/>
        <a:lstStyle/>
        <a:p>
          <a:endParaRPr lang="en-US"/>
        </a:p>
      </dgm:t>
    </dgm:pt>
    <dgm:pt modelId="{056F74FF-A3FB-C746-B07E-313BA5447D82}" type="sibTrans" cxnId="{3E45A103-5081-2E4A-9B29-A04659B3A383}">
      <dgm:prSet/>
      <dgm:spPr/>
      <dgm:t>
        <a:bodyPr/>
        <a:lstStyle/>
        <a:p>
          <a:endParaRPr lang="en-US"/>
        </a:p>
      </dgm:t>
    </dgm:pt>
    <dgm:pt modelId="{B7AAE589-C5AA-EE4A-92ED-321CD28A3515}">
      <dgm:prSet phldrT="[Text]"/>
      <dgm:spPr/>
      <dgm:t>
        <a:bodyPr/>
        <a:lstStyle/>
        <a:p>
          <a:r>
            <a:rPr lang="en-US" b="0" dirty="0">
              <a:latin typeface="+mn-lt"/>
            </a:rPr>
            <a:t>CI Owner &amp; Manager</a:t>
          </a:r>
        </a:p>
      </dgm:t>
    </dgm:pt>
    <dgm:pt modelId="{E658ECED-2EFE-B245-8D58-B1B1163D3FC5}" type="parTrans" cxnId="{40B8019C-5458-D544-BB45-F21D2EBB58AA}">
      <dgm:prSet/>
      <dgm:spPr/>
      <dgm:t>
        <a:bodyPr/>
        <a:lstStyle/>
        <a:p>
          <a:endParaRPr lang="en-US"/>
        </a:p>
      </dgm:t>
    </dgm:pt>
    <dgm:pt modelId="{FD25E633-EC27-2F44-BE14-66A2AF54EB58}" type="sibTrans" cxnId="{40B8019C-5458-D544-BB45-F21D2EBB58AA}">
      <dgm:prSet/>
      <dgm:spPr/>
      <dgm:t>
        <a:bodyPr/>
        <a:lstStyle/>
        <a:p>
          <a:endParaRPr lang="en-US"/>
        </a:p>
      </dgm:t>
    </dgm:pt>
    <dgm:pt modelId="{2785DF9F-D43C-E74E-87AE-A777201258BD}">
      <dgm:prSet/>
      <dgm:spPr/>
      <dgm:t>
        <a:bodyPr/>
        <a:lstStyle/>
        <a:p>
          <a:r>
            <a:rPr lang="en-US" b="0" dirty="0">
              <a:latin typeface="+mn-lt"/>
            </a:rPr>
            <a:t>CI Owner &amp; Manager</a:t>
          </a:r>
        </a:p>
      </dgm:t>
    </dgm:pt>
    <dgm:pt modelId="{0BB9338C-5AAF-9C4E-BEDA-D39A33EB42A3}" type="parTrans" cxnId="{35C77399-1404-A94D-998D-B0DBCFD522F1}">
      <dgm:prSet/>
      <dgm:spPr/>
      <dgm:t>
        <a:bodyPr/>
        <a:lstStyle/>
        <a:p>
          <a:endParaRPr lang="en-US"/>
        </a:p>
      </dgm:t>
    </dgm:pt>
    <dgm:pt modelId="{E179A68A-4CC0-BA47-8E16-FE09AFB947B9}" type="sibTrans" cxnId="{35C77399-1404-A94D-998D-B0DBCFD522F1}">
      <dgm:prSet/>
      <dgm:spPr/>
      <dgm:t>
        <a:bodyPr/>
        <a:lstStyle/>
        <a:p>
          <a:endParaRPr lang="en-US"/>
        </a:p>
      </dgm:t>
    </dgm:pt>
    <dgm:pt modelId="{DA700A56-7734-BA4A-A012-B4C967C526CC}">
      <dgm:prSet phldrT="[Text]"/>
      <dgm:spPr/>
      <dgm:t>
        <a:bodyPr/>
        <a:lstStyle/>
        <a:p>
          <a:r>
            <a:rPr lang="en-US" b="0" dirty="0">
              <a:latin typeface="+mn-lt"/>
            </a:rPr>
            <a:t>CI Owner &amp; Manager</a:t>
          </a:r>
        </a:p>
      </dgm:t>
    </dgm:pt>
    <dgm:pt modelId="{E2673A38-CB8A-0244-8E65-58F7EB23DCC0}" type="parTrans" cxnId="{3DBAE700-E434-D14E-B2CD-1655E2D709EF}">
      <dgm:prSet/>
      <dgm:spPr/>
      <dgm:t>
        <a:bodyPr/>
        <a:lstStyle/>
        <a:p>
          <a:endParaRPr lang="en-US"/>
        </a:p>
      </dgm:t>
    </dgm:pt>
    <dgm:pt modelId="{22E9C002-1604-5B48-A887-8400F97F89A9}" type="sibTrans" cxnId="{3DBAE700-E434-D14E-B2CD-1655E2D709EF}">
      <dgm:prSet/>
      <dgm:spPr/>
      <dgm:t>
        <a:bodyPr/>
        <a:lstStyle/>
        <a:p>
          <a:endParaRPr lang="en-US"/>
        </a:p>
      </dgm:t>
    </dgm:pt>
    <dgm:pt modelId="{7E104D2E-C4C6-DB49-9F28-AAFC13C88B45}">
      <dgm:prSet phldrT="[Text]"/>
      <dgm:spPr/>
      <dgm:t>
        <a:bodyPr/>
        <a:lstStyle/>
        <a:p>
          <a:r>
            <a:rPr lang="en-US" b="0" dirty="0">
              <a:latin typeface="+mn-lt"/>
            </a:rPr>
            <a:t>CI Owner &amp; Manager</a:t>
          </a:r>
        </a:p>
      </dgm:t>
    </dgm:pt>
    <dgm:pt modelId="{D52A0319-683C-2843-93BA-D9C17E0C120B}" type="parTrans" cxnId="{EDA02694-3CD2-4445-BD78-B6D757FDF6A8}">
      <dgm:prSet/>
      <dgm:spPr/>
      <dgm:t>
        <a:bodyPr/>
        <a:lstStyle/>
        <a:p>
          <a:endParaRPr lang="en-US"/>
        </a:p>
      </dgm:t>
    </dgm:pt>
    <dgm:pt modelId="{85022091-A189-9146-B592-E4434EBB082D}" type="sibTrans" cxnId="{EDA02694-3CD2-4445-BD78-B6D757FDF6A8}">
      <dgm:prSet/>
      <dgm:spPr/>
      <dgm:t>
        <a:bodyPr/>
        <a:lstStyle/>
        <a:p>
          <a:endParaRPr lang="en-US"/>
        </a:p>
      </dgm:t>
    </dgm:pt>
    <dgm:pt modelId="{2F11ECD7-7C2A-294B-A4A3-86D1D45E2859}">
      <dgm:prSet phldrT="[Text]"/>
      <dgm:spPr/>
      <dgm:t>
        <a:bodyPr/>
        <a:lstStyle/>
        <a:p>
          <a:r>
            <a:rPr lang="en-US" b="0" dirty="0">
              <a:latin typeface="+mn-lt"/>
            </a:rPr>
            <a:t>CI Owner &amp; Manager</a:t>
          </a:r>
        </a:p>
      </dgm:t>
    </dgm:pt>
    <dgm:pt modelId="{A8ED51E9-CD6C-9A47-92C0-E5D477D55AE7}" type="parTrans" cxnId="{0EC5AA76-D1F1-BA4A-AD0F-2735F26A4078}">
      <dgm:prSet/>
      <dgm:spPr/>
      <dgm:t>
        <a:bodyPr/>
        <a:lstStyle/>
        <a:p>
          <a:endParaRPr lang="en-US"/>
        </a:p>
      </dgm:t>
    </dgm:pt>
    <dgm:pt modelId="{FFA7A2D8-1A26-4641-BE4B-CDB901F9B85F}" type="sibTrans" cxnId="{0EC5AA76-D1F1-BA4A-AD0F-2735F26A4078}">
      <dgm:prSet/>
      <dgm:spPr/>
      <dgm:t>
        <a:bodyPr/>
        <a:lstStyle/>
        <a:p>
          <a:endParaRPr lang="en-US"/>
        </a:p>
      </dgm:t>
    </dgm:pt>
    <dgm:pt modelId="{DAC5F1BD-AC63-DD47-ABE5-54120EF017B4}">
      <dgm:prSet/>
      <dgm:spPr/>
      <dgm:t>
        <a:bodyPr/>
        <a:lstStyle/>
        <a:p>
          <a:r>
            <a:rPr lang="en-US" b="0" dirty="0">
              <a:latin typeface="+mn-lt"/>
            </a:rPr>
            <a:t>CI Owner &amp; Manager</a:t>
          </a:r>
        </a:p>
      </dgm:t>
    </dgm:pt>
    <dgm:pt modelId="{F03FEC2C-CC48-3443-A6AA-2293195E4A07}" type="parTrans" cxnId="{BC0F766D-EFD8-0F45-AADF-291AF74E848C}">
      <dgm:prSet/>
      <dgm:spPr/>
      <dgm:t>
        <a:bodyPr/>
        <a:lstStyle/>
        <a:p>
          <a:endParaRPr lang="en-US"/>
        </a:p>
      </dgm:t>
    </dgm:pt>
    <dgm:pt modelId="{1ABF3098-35AD-F145-90FB-F90D4152DB3D}" type="sibTrans" cxnId="{BC0F766D-EFD8-0F45-AADF-291AF74E848C}">
      <dgm:prSet/>
      <dgm:spPr/>
      <dgm:t>
        <a:bodyPr/>
        <a:lstStyle/>
        <a:p>
          <a:endParaRPr lang="en-US"/>
        </a:p>
      </dgm:t>
    </dgm:pt>
    <dgm:pt modelId="{B88A0633-63C7-FF43-97BF-62973BE0AA02}">
      <dgm:prSet/>
      <dgm:spPr/>
      <dgm:t>
        <a:bodyPr/>
        <a:lstStyle/>
        <a:p>
          <a:r>
            <a:rPr lang="en-US" b="0" dirty="0">
              <a:latin typeface="+mn-lt"/>
            </a:rPr>
            <a:t>CI Owner &amp; Manager</a:t>
          </a:r>
        </a:p>
      </dgm:t>
    </dgm:pt>
    <dgm:pt modelId="{34315627-FF06-514C-9738-1BEF93ABF083}" type="parTrans" cxnId="{3B3904D4-30D3-6246-A0ED-83E5A2E04E0D}">
      <dgm:prSet/>
      <dgm:spPr/>
      <dgm:t>
        <a:bodyPr/>
        <a:lstStyle/>
        <a:p>
          <a:endParaRPr lang="en-US"/>
        </a:p>
      </dgm:t>
    </dgm:pt>
    <dgm:pt modelId="{315D5106-4930-3F43-83F0-B542FCC65539}" type="sibTrans" cxnId="{3B3904D4-30D3-6246-A0ED-83E5A2E04E0D}">
      <dgm:prSet/>
      <dgm:spPr/>
      <dgm:t>
        <a:bodyPr/>
        <a:lstStyle/>
        <a:p>
          <a:endParaRPr lang="en-US"/>
        </a:p>
      </dgm:t>
    </dgm:pt>
    <dgm:pt modelId="{4F231B71-4E17-F542-BA23-7D235CF6A46D}">
      <dgm:prSet/>
      <dgm:spPr/>
      <dgm:t>
        <a:bodyPr/>
        <a:lstStyle/>
        <a:p>
          <a:r>
            <a:rPr lang="en-US" b="0" dirty="0">
              <a:latin typeface="+mn-lt"/>
            </a:rPr>
            <a:t>CI Owner &amp; Manager</a:t>
          </a:r>
        </a:p>
      </dgm:t>
    </dgm:pt>
    <dgm:pt modelId="{DF13A108-CE1A-F042-A96F-AC48791AA6C8}" type="parTrans" cxnId="{6C07A592-B516-BE4E-852A-76DDCAED8819}">
      <dgm:prSet/>
      <dgm:spPr/>
      <dgm:t>
        <a:bodyPr/>
        <a:lstStyle/>
        <a:p>
          <a:endParaRPr lang="en-US"/>
        </a:p>
      </dgm:t>
    </dgm:pt>
    <dgm:pt modelId="{147878B1-2659-E340-ACFB-C956D9FCE026}" type="sibTrans" cxnId="{6C07A592-B516-BE4E-852A-76DDCAED8819}">
      <dgm:prSet/>
      <dgm:spPr/>
      <dgm:t>
        <a:bodyPr/>
        <a:lstStyle/>
        <a:p>
          <a:endParaRPr lang="en-US"/>
        </a:p>
      </dgm:t>
    </dgm:pt>
    <dgm:pt modelId="{7CADBCE2-9851-3D48-918F-7FC30251D103}">
      <dgm:prSet phldrT="[Text]"/>
      <dgm:spPr/>
      <dgm:t>
        <a:bodyPr/>
        <a:lstStyle/>
        <a:p>
          <a:r>
            <a:rPr lang="en-US" b="0" dirty="0">
              <a:latin typeface="+mn-lt"/>
            </a:rPr>
            <a:t>IS VP</a:t>
          </a:r>
        </a:p>
      </dgm:t>
    </dgm:pt>
    <dgm:pt modelId="{59529693-9A67-0640-B34E-F82AB9F74A70}" type="parTrans" cxnId="{B4D4BDB5-1744-7C47-8DA1-A4EAA19081B0}">
      <dgm:prSet/>
      <dgm:spPr/>
      <dgm:t>
        <a:bodyPr/>
        <a:lstStyle/>
        <a:p>
          <a:endParaRPr lang="en-US"/>
        </a:p>
      </dgm:t>
    </dgm:pt>
    <dgm:pt modelId="{EF0B197C-9535-DD46-80AC-BDA7367C583A}" type="sibTrans" cxnId="{B4D4BDB5-1744-7C47-8DA1-A4EAA19081B0}">
      <dgm:prSet/>
      <dgm:spPr/>
      <dgm:t>
        <a:bodyPr/>
        <a:lstStyle/>
        <a:p>
          <a:endParaRPr lang="en-US"/>
        </a:p>
      </dgm:t>
    </dgm:pt>
    <dgm:pt modelId="{63A1AEF4-9DB1-4442-92F4-0413B5948642}">
      <dgm:prSet phldrT="[Text]"/>
      <dgm:spPr/>
      <dgm:t>
        <a:bodyPr/>
        <a:lstStyle/>
        <a:p>
          <a:r>
            <a:rPr lang="en-US" b="0" dirty="0">
              <a:latin typeface="+mn-lt"/>
            </a:rPr>
            <a:t>CCB</a:t>
          </a:r>
        </a:p>
      </dgm:t>
    </dgm:pt>
    <dgm:pt modelId="{F06B9758-EE7B-0045-A0A7-5462FA89261A}" type="parTrans" cxnId="{022DDAA8-8520-374D-BE56-B52DB17FAA45}">
      <dgm:prSet/>
      <dgm:spPr/>
      <dgm:t>
        <a:bodyPr/>
        <a:lstStyle/>
        <a:p>
          <a:endParaRPr lang="en-US"/>
        </a:p>
      </dgm:t>
    </dgm:pt>
    <dgm:pt modelId="{1E82D3C5-4C9B-9E41-A7BD-203DAF185109}" type="sibTrans" cxnId="{022DDAA8-8520-374D-BE56-B52DB17FAA45}">
      <dgm:prSet/>
      <dgm:spPr/>
      <dgm:t>
        <a:bodyPr/>
        <a:lstStyle/>
        <a:p>
          <a:endParaRPr lang="en-US"/>
        </a:p>
      </dgm:t>
    </dgm:pt>
    <dgm:pt modelId="{DCC76C31-E8F1-5E43-9F40-B09E8C12BA0F}">
      <dgm:prSet/>
      <dgm:spPr/>
      <dgm:t>
        <a:bodyPr/>
        <a:lstStyle/>
        <a:p>
          <a:r>
            <a:rPr lang="en-US" b="0" dirty="0">
              <a:latin typeface="+mn-lt"/>
            </a:rPr>
            <a:t>IS VP</a:t>
          </a:r>
        </a:p>
      </dgm:t>
    </dgm:pt>
    <dgm:pt modelId="{CF788FB0-D9F5-684A-BD83-3332B6FC606D}" type="parTrans" cxnId="{A490C6CF-183A-CD48-813C-4B56EC3D3F65}">
      <dgm:prSet/>
      <dgm:spPr/>
      <dgm:t>
        <a:bodyPr/>
        <a:lstStyle/>
        <a:p>
          <a:endParaRPr lang="en-US"/>
        </a:p>
      </dgm:t>
    </dgm:pt>
    <dgm:pt modelId="{BC53485A-0270-1B46-97ED-D72DE3A44557}" type="sibTrans" cxnId="{A490C6CF-183A-CD48-813C-4B56EC3D3F65}">
      <dgm:prSet/>
      <dgm:spPr/>
      <dgm:t>
        <a:bodyPr/>
        <a:lstStyle/>
        <a:p>
          <a:endParaRPr lang="en-US"/>
        </a:p>
      </dgm:t>
    </dgm:pt>
    <dgm:pt modelId="{20F47D8A-FB46-D74D-903E-6C6717EC0AC8}">
      <dgm:prSet/>
      <dgm:spPr/>
      <dgm:t>
        <a:bodyPr/>
        <a:lstStyle/>
        <a:p>
          <a:r>
            <a:rPr lang="en-US" b="0" dirty="0">
              <a:latin typeface="+mn-lt"/>
            </a:rPr>
            <a:t>CCB</a:t>
          </a:r>
        </a:p>
      </dgm:t>
    </dgm:pt>
    <dgm:pt modelId="{E9F05F15-A836-6944-995D-6C2D41E62836}" type="parTrans" cxnId="{78708052-235C-0B48-819A-555E7B72EC25}">
      <dgm:prSet/>
      <dgm:spPr/>
      <dgm:t>
        <a:bodyPr/>
        <a:lstStyle/>
        <a:p>
          <a:endParaRPr lang="en-US"/>
        </a:p>
      </dgm:t>
    </dgm:pt>
    <dgm:pt modelId="{4619F59B-D6DD-A745-B91A-DDB6C34DB9D7}" type="sibTrans" cxnId="{78708052-235C-0B48-819A-555E7B72EC25}">
      <dgm:prSet/>
      <dgm:spPr/>
      <dgm:t>
        <a:bodyPr/>
        <a:lstStyle/>
        <a:p>
          <a:endParaRPr lang="en-US"/>
        </a:p>
      </dgm:t>
    </dgm:pt>
    <dgm:pt modelId="{3B8E5281-71D4-B04D-B0B1-A065D75398AB}">
      <dgm:prSet phldrT="[Text]"/>
      <dgm:spPr/>
      <dgm:t>
        <a:bodyPr/>
        <a:lstStyle/>
        <a:p>
          <a:r>
            <a:rPr lang="en-US" b="0" dirty="0">
              <a:latin typeface="+mn-lt"/>
            </a:rPr>
            <a:t>IS VP</a:t>
          </a:r>
        </a:p>
      </dgm:t>
    </dgm:pt>
    <dgm:pt modelId="{DEEEAA5A-9EEC-E94B-BDEF-88BAFC648722}" type="parTrans" cxnId="{7A26A0EA-82B7-F940-A0CC-5069FF565FD1}">
      <dgm:prSet/>
      <dgm:spPr/>
      <dgm:t>
        <a:bodyPr/>
        <a:lstStyle/>
        <a:p>
          <a:endParaRPr lang="en-US"/>
        </a:p>
      </dgm:t>
    </dgm:pt>
    <dgm:pt modelId="{CF94FCE6-590C-6942-BE93-AF2690BEBC6D}" type="sibTrans" cxnId="{7A26A0EA-82B7-F940-A0CC-5069FF565FD1}">
      <dgm:prSet/>
      <dgm:spPr/>
      <dgm:t>
        <a:bodyPr/>
        <a:lstStyle/>
        <a:p>
          <a:endParaRPr lang="en-US"/>
        </a:p>
      </dgm:t>
    </dgm:pt>
    <dgm:pt modelId="{B576F23F-8379-F049-91E1-9BA3EB4A3E96}">
      <dgm:prSet phldrT="[Text]"/>
      <dgm:spPr/>
      <dgm:t>
        <a:bodyPr/>
        <a:lstStyle/>
        <a:p>
          <a:r>
            <a:rPr lang="en-US" b="0" dirty="0">
              <a:latin typeface="+mn-lt"/>
            </a:rPr>
            <a:t>CCB</a:t>
          </a:r>
        </a:p>
      </dgm:t>
    </dgm:pt>
    <dgm:pt modelId="{8D366E1E-ECC7-2244-8908-AE67AC904D29}" type="parTrans" cxnId="{87869C4C-D5C4-3144-AA44-42B9A8531C7A}">
      <dgm:prSet/>
      <dgm:spPr/>
      <dgm:t>
        <a:bodyPr/>
        <a:lstStyle/>
        <a:p>
          <a:endParaRPr lang="en-US"/>
        </a:p>
      </dgm:t>
    </dgm:pt>
    <dgm:pt modelId="{8446A15D-4630-2140-90F8-F454AFB4FD3C}" type="sibTrans" cxnId="{87869C4C-D5C4-3144-AA44-42B9A8531C7A}">
      <dgm:prSet/>
      <dgm:spPr/>
      <dgm:t>
        <a:bodyPr/>
        <a:lstStyle/>
        <a:p>
          <a:endParaRPr lang="en-US"/>
        </a:p>
      </dgm:t>
    </dgm:pt>
    <dgm:pt modelId="{3306E722-455F-5A4F-9983-9CB846A6029E}">
      <dgm:prSet phldrT="[Text]"/>
      <dgm:spPr/>
      <dgm:t>
        <a:bodyPr/>
        <a:lstStyle/>
        <a:p>
          <a:r>
            <a:rPr lang="en-US" b="0" dirty="0">
              <a:latin typeface="+mn-lt"/>
            </a:rPr>
            <a:t>IS VP</a:t>
          </a:r>
        </a:p>
      </dgm:t>
    </dgm:pt>
    <dgm:pt modelId="{B1DB0B44-9680-F449-92F3-0243D8785D75}" type="parTrans" cxnId="{195E50F4-73CB-AC45-B2BD-D648EF3E3EE9}">
      <dgm:prSet/>
      <dgm:spPr/>
      <dgm:t>
        <a:bodyPr/>
        <a:lstStyle/>
        <a:p>
          <a:endParaRPr lang="en-US"/>
        </a:p>
      </dgm:t>
    </dgm:pt>
    <dgm:pt modelId="{896AF304-1E07-7B44-91EA-805ED9798CB7}" type="sibTrans" cxnId="{195E50F4-73CB-AC45-B2BD-D648EF3E3EE9}">
      <dgm:prSet/>
      <dgm:spPr/>
      <dgm:t>
        <a:bodyPr/>
        <a:lstStyle/>
        <a:p>
          <a:endParaRPr lang="en-US"/>
        </a:p>
      </dgm:t>
    </dgm:pt>
    <dgm:pt modelId="{99E9155D-4FE4-5D44-BCDE-E06378D3DBE2}">
      <dgm:prSet phldrT="[Text]"/>
      <dgm:spPr/>
      <dgm:t>
        <a:bodyPr/>
        <a:lstStyle/>
        <a:p>
          <a:r>
            <a:rPr lang="en-US" b="0" dirty="0">
              <a:latin typeface="+mn-lt"/>
            </a:rPr>
            <a:t>CCB</a:t>
          </a:r>
        </a:p>
      </dgm:t>
    </dgm:pt>
    <dgm:pt modelId="{1AB6541F-A705-AE4B-B363-952A132EF81D}" type="parTrans" cxnId="{37FDF772-67E4-A347-8278-23C6A571A5A0}">
      <dgm:prSet/>
      <dgm:spPr/>
      <dgm:t>
        <a:bodyPr/>
        <a:lstStyle/>
        <a:p>
          <a:endParaRPr lang="en-US"/>
        </a:p>
      </dgm:t>
    </dgm:pt>
    <dgm:pt modelId="{9213EF71-43D6-0344-94EC-75E283DF7105}" type="sibTrans" cxnId="{37FDF772-67E4-A347-8278-23C6A571A5A0}">
      <dgm:prSet/>
      <dgm:spPr/>
      <dgm:t>
        <a:bodyPr/>
        <a:lstStyle/>
        <a:p>
          <a:endParaRPr lang="en-US"/>
        </a:p>
      </dgm:t>
    </dgm:pt>
    <dgm:pt modelId="{057C1F0F-E8D4-4986-8DC8-9D4684B2A204}">
      <dgm:prSet phldrT="[Text]"/>
      <dgm:spPr/>
      <dgm:t>
        <a:bodyPr/>
        <a:lstStyle/>
        <a:p>
          <a:r>
            <a:rPr lang="en-US" b="0" dirty="0">
              <a:latin typeface="+mn-lt"/>
            </a:rPr>
            <a:t>Emergency CCB</a:t>
          </a:r>
        </a:p>
      </dgm:t>
    </dgm:pt>
    <dgm:pt modelId="{D4E8B480-DCA9-4A8F-8980-2712803DAD3B}" type="parTrans" cxnId="{AE1578B0-1B47-4E10-A95F-D0C19208A03A}">
      <dgm:prSet/>
      <dgm:spPr/>
      <dgm:t>
        <a:bodyPr/>
        <a:lstStyle/>
        <a:p>
          <a:endParaRPr lang="en-US"/>
        </a:p>
      </dgm:t>
    </dgm:pt>
    <dgm:pt modelId="{5D5225F2-C817-47F1-903C-88E625025BD1}" type="sibTrans" cxnId="{AE1578B0-1B47-4E10-A95F-D0C19208A03A}">
      <dgm:prSet/>
      <dgm:spPr/>
      <dgm:t>
        <a:bodyPr/>
        <a:lstStyle/>
        <a:p>
          <a:endParaRPr lang="en-US"/>
        </a:p>
      </dgm:t>
    </dgm:pt>
    <dgm:pt modelId="{33B3B844-7BD4-4F47-B7F2-B7471DC3BC14}">
      <dgm:prSet phldrT="[Text]"/>
      <dgm:spPr/>
      <dgm:t>
        <a:bodyPr/>
        <a:lstStyle/>
        <a:p>
          <a:r>
            <a:rPr lang="en-US" b="0" dirty="0">
              <a:latin typeface="+mn-lt"/>
            </a:rPr>
            <a:t>Emergency CCB</a:t>
          </a:r>
        </a:p>
      </dgm:t>
    </dgm:pt>
    <dgm:pt modelId="{731AFCE8-19CE-4E45-9CAC-965982BD17AB}" type="parTrans" cxnId="{1973940C-3932-4736-AB90-C6512669F2C1}">
      <dgm:prSet/>
      <dgm:spPr/>
      <dgm:t>
        <a:bodyPr/>
        <a:lstStyle/>
        <a:p>
          <a:endParaRPr lang="en-US"/>
        </a:p>
      </dgm:t>
    </dgm:pt>
    <dgm:pt modelId="{A38A031E-85D7-4874-85C8-12D87F0308EB}" type="sibTrans" cxnId="{1973940C-3932-4736-AB90-C6512669F2C1}">
      <dgm:prSet/>
      <dgm:spPr/>
      <dgm:t>
        <a:bodyPr/>
        <a:lstStyle/>
        <a:p>
          <a:endParaRPr lang="en-US"/>
        </a:p>
      </dgm:t>
    </dgm:pt>
    <dgm:pt modelId="{C1828395-7901-491D-8590-B705AA739D3C}">
      <dgm:prSet/>
      <dgm:spPr/>
      <dgm:t>
        <a:bodyPr/>
        <a:lstStyle/>
        <a:p>
          <a:r>
            <a:rPr lang="en-US" b="0" dirty="0">
              <a:latin typeface="+mn-lt"/>
            </a:rPr>
            <a:t>Emergency CCB</a:t>
          </a:r>
        </a:p>
      </dgm:t>
    </dgm:pt>
    <dgm:pt modelId="{372A7719-5407-438F-A5AC-2755D2476A45}" type="parTrans" cxnId="{6D4C174B-74D4-46DF-802F-8F0CBDFB98AD}">
      <dgm:prSet/>
      <dgm:spPr/>
      <dgm:t>
        <a:bodyPr/>
        <a:lstStyle/>
        <a:p>
          <a:endParaRPr lang="en-US"/>
        </a:p>
      </dgm:t>
    </dgm:pt>
    <dgm:pt modelId="{BF8F513E-9405-4F3F-8062-FC655571A53C}" type="sibTrans" cxnId="{6D4C174B-74D4-46DF-802F-8F0CBDFB98AD}">
      <dgm:prSet/>
      <dgm:spPr/>
      <dgm:t>
        <a:bodyPr/>
        <a:lstStyle/>
        <a:p>
          <a:endParaRPr lang="en-US"/>
        </a:p>
      </dgm:t>
    </dgm:pt>
    <dgm:pt modelId="{958337F7-257C-6E4C-8B60-1DE8A4107146}" type="pres">
      <dgm:prSet presAssocID="{35C505D0-7645-6C4D-B933-CF08D770080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6329F7B-EFCC-224F-B9D8-A9EC9766C3CD}" type="pres">
      <dgm:prSet presAssocID="{D3AA0F1D-2087-2545-A85D-1888E8DDEC58}" presName="root" presStyleCnt="0"/>
      <dgm:spPr/>
    </dgm:pt>
    <dgm:pt modelId="{DE72C6C9-B4CC-5741-B9DC-29282F98CE68}" type="pres">
      <dgm:prSet presAssocID="{D3AA0F1D-2087-2545-A85D-1888E8DDEC58}" presName="rootComposite" presStyleCnt="0"/>
      <dgm:spPr/>
    </dgm:pt>
    <dgm:pt modelId="{E892E456-CACE-4545-9070-6398AF314809}" type="pres">
      <dgm:prSet presAssocID="{D3AA0F1D-2087-2545-A85D-1888E8DDEC58}" presName="rootText" presStyleLbl="node1" presStyleIdx="0" presStyleCnt="3"/>
      <dgm:spPr/>
    </dgm:pt>
    <dgm:pt modelId="{27F7F4B3-4790-AF4F-9F0D-29147EBC669B}" type="pres">
      <dgm:prSet presAssocID="{D3AA0F1D-2087-2545-A85D-1888E8DDEC58}" presName="rootConnector" presStyleLbl="node1" presStyleIdx="0" presStyleCnt="3"/>
      <dgm:spPr/>
    </dgm:pt>
    <dgm:pt modelId="{02B44A2C-C6BF-7047-8746-FA3F12348D3D}" type="pres">
      <dgm:prSet presAssocID="{D3AA0F1D-2087-2545-A85D-1888E8DDEC58}" presName="childShape" presStyleCnt="0"/>
      <dgm:spPr/>
    </dgm:pt>
    <dgm:pt modelId="{80DE5084-8755-D34A-8A40-8679A7FDAA97}" type="pres">
      <dgm:prSet presAssocID="{010615DC-268C-7B49-8C07-E1CE54262E5E}" presName="Name13" presStyleLbl="parChTrans1D2" presStyleIdx="0" presStyleCnt="9"/>
      <dgm:spPr/>
    </dgm:pt>
    <dgm:pt modelId="{95A6CD69-3843-8A40-A324-916683E32540}" type="pres">
      <dgm:prSet presAssocID="{EF5FC1CC-607C-B04D-9A28-C289410777EE}" presName="childText" presStyleLbl="bgAcc1" presStyleIdx="0" presStyleCnt="9">
        <dgm:presLayoutVars>
          <dgm:bulletEnabled val="1"/>
        </dgm:presLayoutVars>
      </dgm:prSet>
      <dgm:spPr/>
    </dgm:pt>
    <dgm:pt modelId="{EC76B473-4034-C24B-BC50-161698DFFA8E}" type="pres">
      <dgm:prSet presAssocID="{0C949726-1744-CB4B-841E-B4159586C299}" presName="Name13" presStyleLbl="parChTrans1D2" presStyleIdx="1" presStyleCnt="9"/>
      <dgm:spPr/>
    </dgm:pt>
    <dgm:pt modelId="{0D55A70F-6DB8-DD4E-8DE0-47DEC7E4B8D7}" type="pres">
      <dgm:prSet presAssocID="{C6E1B750-85A8-AD4E-915E-BF8C90D93D4F}" presName="childText" presStyleLbl="bgAcc1" presStyleIdx="1" presStyleCnt="9">
        <dgm:presLayoutVars>
          <dgm:bulletEnabled val="1"/>
        </dgm:presLayoutVars>
      </dgm:prSet>
      <dgm:spPr/>
    </dgm:pt>
    <dgm:pt modelId="{DBAF2BA4-2257-3F46-9341-45BFD8C6F294}" type="pres">
      <dgm:prSet presAssocID="{B4636997-688E-2543-BD66-9AB7B17596AD}" presName="Name13" presStyleLbl="parChTrans1D2" presStyleIdx="2" presStyleCnt="9"/>
      <dgm:spPr/>
    </dgm:pt>
    <dgm:pt modelId="{9E28E7FF-E31C-C043-9871-3CEBF96318E6}" type="pres">
      <dgm:prSet presAssocID="{AE14CDDC-21EB-D84C-9F30-8A0D0980A2BA}" presName="childText" presStyleLbl="bgAcc1" presStyleIdx="2" presStyleCnt="9">
        <dgm:presLayoutVars>
          <dgm:bulletEnabled val="1"/>
        </dgm:presLayoutVars>
      </dgm:prSet>
      <dgm:spPr/>
    </dgm:pt>
    <dgm:pt modelId="{939EF66B-8BB6-AE48-BD40-DC5D89C187A4}" type="pres">
      <dgm:prSet presAssocID="{1C70F24A-A764-B447-959A-DE94E8EE3D98}" presName="root" presStyleCnt="0"/>
      <dgm:spPr/>
    </dgm:pt>
    <dgm:pt modelId="{56248E5F-1B34-F34D-AB88-F7FEB3D0636D}" type="pres">
      <dgm:prSet presAssocID="{1C70F24A-A764-B447-959A-DE94E8EE3D98}" presName="rootComposite" presStyleCnt="0"/>
      <dgm:spPr/>
    </dgm:pt>
    <dgm:pt modelId="{0BAD0218-A86B-F245-8FB1-F2E8167BA360}" type="pres">
      <dgm:prSet presAssocID="{1C70F24A-A764-B447-959A-DE94E8EE3D98}" presName="rootText" presStyleLbl="node1" presStyleIdx="1" presStyleCnt="3"/>
      <dgm:spPr/>
    </dgm:pt>
    <dgm:pt modelId="{20AE1270-28BD-DA41-A7F6-5731C0F03D9C}" type="pres">
      <dgm:prSet presAssocID="{1C70F24A-A764-B447-959A-DE94E8EE3D98}" presName="rootConnector" presStyleLbl="node1" presStyleIdx="1" presStyleCnt="3"/>
      <dgm:spPr/>
    </dgm:pt>
    <dgm:pt modelId="{C92D4A00-25AF-C04F-85C6-D2B57FC84D43}" type="pres">
      <dgm:prSet presAssocID="{1C70F24A-A764-B447-959A-DE94E8EE3D98}" presName="childShape" presStyleCnt="0"/>
      <dgm:spPr/>
    </dgm:pt>
    <dgm:pt modelId="{7E9853B6-6A03-F44C-BF69-6BD297787D11}" type="pres">
      <dgm:prSet presAssocID="{164D750F-09DD-2941-B533-BDB57B668755}" presName="Name13" presStyleLbl="parChTrans1D2" presStyleIdx="3" presStyleCnt="9"/>
      <dgm:spPr/>
    </dgm:pt>
    <dgm:pt modelId="{615DE7ED-EDC6-DE42-98B7-0A5C9145FD97}" type="pres">
      <dgm:prSet presAssocID="{1C6631C0-0A44-2646-A5F3-CC42DFA0D0EC}" presName="childText" presStyleLbl="bgAcc1" presStyleIdx="3" presStyleCnt="9">
        <dgm:presLayoutVars>
          <dgm:bulletEnabled val="1"/>
        </dgm:presLayoutVars>
      </dgm:prSet>
      <dgm:spPr/>
    </dgm:pt>
    <dgm:pt modelId="{C2E97058-FE3B-A74E-8910-5381DB47B2B0}" type="pres">
      <dgm:prSet presAssocID="{47DED6B6-377C-8F47-AA95-12F95AF9DB78}" presName="Name13" presStyleLbl="parChTrans1D2" presStyleIdx="4" presStyleCnt="9"/>
      <dgm:spPr/>
    </dgm:pt>
    <dgm:pt modelId="{E5990566-9713-274E-93F3-31CEB23232CD}" type="pres">
      <dgm:prSet presAssocID="{9E668A67-E7AA-6F46-9444-9D0D29DB46E1}" presName="childText" presStyleLbl="bgAcc1" presStyleIdx="4" presStyleCnt="9">
        <dgm:presLayoutVars>
          <dgm:bulletEnabled val="1"/>
        </dgm:presLayoutVars>
      </dgm:prSet>
      <dgm:spPr/>
    </dgm:pt>
    <dgm:pt modelId="{6A95AA93-E2F3-E246-92BD-EDA7A032046B}" type="pres">
      <dgm:prSet presAssocID="{1C4C6EA8-3396-2047-8EE1-3269856CA052}" presName="Name13" presStyleLbl="parChTrans1D2" presStyleIdx="5" presStyleCnt="9"/>
      <dgm:spPr/>
    </dgm:pt>
    <dgm:pt modelId="{15F53404-EE8D-A348-9C16-921EE496B565}" type="pres">
      <dgm:prSet presAssocID="{B2864E8F-215B-7644-9968-B486B7788427}" presName="childText" presStyleLbl="bgAcc1" presStyleIdx="5" presStyleCnt="9">
        <dgm:presLayoutVars>
          <dgm:bulletEnabled val="1"/>
        </dgm:presLayoutVars>
      </dgm:prSet>
      <dgm:spPr/>
    </dgm:pt>
    <dgm:pt modelId="{40EF49E4-45C5-3A4A-9DBE-36369C2D981D}" type="pres">
      <dgm:prSet presAssocID="{2748A272-4C22-634D-A9AC-C2D19C65AA51}" presName="root" presStyleCnt="0"/>
      <dgm:spPr/>
    </dgm:pt>
    <dgm:pt modelId="{175748F6-B428-264E-9E4E-A2902372FB6E}" type="pres">
      <dgm:prSet presAssocID="{2748A272-4C22-634D-A9AC-C2D19C65AA51}" presName="rootComposite" presStyleCnt="0"/>
      <dgm:spPr/>
    </dgm:pt>
    <dgm:pt modelId="{0C11D4A3-AB44-B34A-BC17-5B385D75D1F9}" type="pres">
      <dgm:prSet presAssocID="{2748A272-4C22-634D-A9AC-C2D19C65AA51}" presName="rootText" presStyleLbl="node1" presStyleIdx="2" presStyleCnt="3"/>
      <dgm:spPr/>
    </dgm:pt>
    <dgm:pt modelId="{192D0F5F-829F-0F4E-8443-C42CD651EED1}" type="pres">
      <dgm:prSet presAssocID="{2748A272-4C22-634D-A9AC-C2D19C65AA51}" presName="rootConnector" presStyleLbl="node1" presStyleIdx="2" presStyleCnt="3"/>
      <dgm:spPr/>
    </dgm:pt>
    <dgm:pt modelId="{C73DE158-2352-7D42-BDE8-2B8E26DACE9B}" type="pres">
      <dgm:prSet presAssocID="{2748A272-4C22-634D-A9AC-C2D19C65AA51}" presName="childShape" presStyleCnt="0"/>
      <dgm:spPr/>
    </dgm:pt>
    <dgm:pt modelId="{E208B1FB-C71B-BD4C-8FD0-C18B50036A3A}" type="pres">
      <dgm:prSet presAssocID="{A570FBBC-4F7A-EF4F-BD4D-4FC24E44F341}" presName="Name13" presStyleLbl="parChTrans1D2" presStyleIdx="6" presStyleCnt="9"/>
      <dgm:spPr/>
    </dgm:pt>
    <dgm:pt modelId="{F489C66C-AEA8-B54C-B36B-08D3DB650457}" type="pres">
      <dgm:prSet presAssocID="{6D326BAB-661B-0042-BC03-54ACD1E06AEA}" presName="childText" presStyleLbl="bgAcc1" presStyleIdx="6" presStyleCnt="9">
        <dgm:presLayoutVars>
          <dgm:bulletEnabled val="1"/>
        </dgm:presLayoutVars>
      </dgm:prSet>
      <dgm:spPr/>
    </dgm:pt>
    <dgm:pt modelId="{665F752E-91F4-E447-8EF9-2FF654EC3A0A}" type="pres">
      <dgm:prSet presAssocID="{FC77F889-D124-1146-9BE2-C0C46E21AEDD}" presName="Name13" presStyleLbl="parChTrans1D2" presStyleIdx="7" presStyleCnt="9"/>
      <dgm:spPr/>
    </dgm:pt>
    <dgm:pt modelId="{502EF3FD-8A7B-2547-BED5-352873207F5A}" type="pres">
      <dgm:prSet presAssocID="{F40D655B-8CBA-4C49-B900-F31782B2E893}" presName="childText" presStyleLbl="bgAcc1" presStyleIdx="7" presStyleCnt="9">
        <dgm:presLayoutVars>
          <dgm:bulletEnabled val="1"/>
        </dgm:presLayoutVars>
      </dgm:prSet>
      <dgm:spPr/>
    </dgm:pt>
    <dgm:pt modelId="{31F77E78-2C91-994E-A1E1-92B382A028D7}" type="pres">
      <dgm:prSet presAssocID="{B5C68D1B-E742-B84D-A535-767B86C6CAC6}" presName="Name13" presStyleLbl="parChTrans1D2" presStyleIdx="8" presStyleCnt="9"/>
      <dgm:spPr/>
    </dgm:pt>
    <dgm:pt modelId="{46239DB9-3EB8-D241-8152-A0472DC93422}" type="pres">
      <dgm:prSet presAssocID="{1A4F6A33-4864-214C-A924-80A7270045E2}" presName="childText" presStyleLbl="bgAcc1" presStyleIdx="8" presStyleCnt="9">
        <dgm:presLayoutVars>
          <dgm:bulletEnabled val="1"/>
        </dgm:presLayoutVars>
      </dgm:prSet>
      <dgm:spPr/>
    </dgm:pt>
  </dgm:ptLst>
  <dgm:cxnLst>
    <dgm:cxn modelId="{3DBAE700-E434-D14E-B2CD-1655E2D709EF}" srcId="{1C6631C0-0A44-2646-A5F3-CC42DFA0D0EC}" destId="{DA700A56-7734-BA4A-A012-B4C967C526CC}" srcOrd="0" destOrd="0" parTransId="{E2673A38-CB8A-0244-8E65-58F7EB23DCC0}" sibTransId="{22E9C002-1604-5B48-A887-8400F97F89A9}"/>
    <dgm:cxn modelId="{3E45A103-5081-2E4A-9B29-A04659B3A383}" srcId="{EF5FC1CC-607C-B04D-9A28-C289410777EE}" destId="{785DF7B2-C9C3-E445-8CFC-107E3FD699E2}" srcOrd="0" destOrd="0" parTransId="{4519C168-F977-A34D-B3DD-374440E36BD7}" sibTransId="{056F74FF-A3FB-C746-B07E-313BA5447D82}"/>
    <dgm:cxn modelId="{BC64F003-E88C-0D47-9E80-18CEEDD53E8C}" srcId="{35C505D0-7645-6C4D-B933-CF08D7700804}" destId="{2748A272-4C22-634D-A9AC-C2D19C65AA51}" srcOrd="2" destOrd="0" parTransId="{1B7ED6D4-EB90-324C-A312-FEF539250AE3}" sibTransId="{509EDBFC-EE62-0F46-B421-095992286FEE}"/>
    <dgm:cxn modelId="{BCAB7505-E38B-2A47-8AAD-36E15D80F3CB}" type="presOf" srcId="{1C70F24A-A764-B447-959A-DE94E8EE3D98}" destId="{0BAD0218-A86B-F245-8FB1-F2E8167BA360}" srcOrd="0" destOrd="0" presId="urn:microsoft.com/office/officeart/2005/8/layout/hierarchy3"/>
    <dgm:cxn modelId="{20E33D07-794C-D14D-9251-C59C73B8ABF1}" srcId="{D3AA0F1D-2087-2545-A85D-1888E8DDEC58}" destId="{C6E1B750-85A8-AD4E-915E-BF8C90D93D4F}" srcOrd="1" destOrd="0" parTransId="{0C949726-1744-CB4B-841E-B4159586C299}" sibTransId="{DA75456B-8B5C-294B-9EE6-935F84D395DF}"/>
    <dgm:cxn modelId="{1973940C-3932-4736-AB90-C6512669F2C1}" srcId="{F40D655B-8CBA-4C49-B900-F31782B2E893}" destId="{33B3B844-7BD4-4F47-B7F2-B7471DC3BC14}" srcOrd="1" destOrd="0" parTransId="{731AFCE8-19CE-4E45-9CAC-965982BD17AB}" sibTransId="{A38A031E-85D7-4874-85C8-12D87F0308EB}"/>
    <dgm:cxn modelId="{668B0B1E-F9FD-0B44-8B45-938B29F18CDC}" srcId="{2748A272-4C22-634D-A9AC-C2D19C65AA51}" destId="{6D326BAB-661B-0042-BC03-54ACD1E06AEA}" srcOrd="0" destOrd="0" parTransId="{A570FBBC-4F7A-EF4F-BD4D-4FC24E44F341}" sibTransId="{E417669C-945A-C543-9C6B-5E5A8BA70C55}"/>
    <dgm:cxn modelId="{2DFDBB1E-B99C-CA42-8965-9727E2A63AA2}" type="presOf" srcId="{FC77F889-D124-1146-9BE2-C0C46E21AEDD}" destId="{665F752E-91F4-E447-8EF9-2FF654EC3A0A}" srcOrd="0" destOrd="0" presId="urn:microsoft.com/office/officeart/2005/8/layout/hierarchy3"/>
    <dgm:cxn modelId="{BC49E626-181B-404D-A236-CC885E3B28CC}" type="presOf" srcId="{DA700A56-7734-BA4A-A012-B4C967C526CC}" destId="{615DE7ED-EDC6-DE42-98B7-0A5C9145FD97}" srcOrd="0" destOrd="1" presId="urn:microsoft.com/office/officeart/2005/8/layout/hierarchy3"/>
    <dgm:cxn modelId="{90BAD828-E5A3-1B4C-B163-70C1EBDE0685}" type="presOf" srcId="{AE14CDDC-21EB-D84C-9F30-8A0D0980A2BA}" destId="{9E28E7FF-E31C-C043-9871-3CEBF96318E6}" srcOrd="0" destOrd="0" presId="urn:microsoft.com/office/officeart/2005/8/layout/hierarchy3"/>
    <dgm:cxn modelId="{CA36E82B-F3B4-7D4D-94F0-A0200EC3BEF4}" type="presOf" srcId="{785DF7B2-C9C3-E445-8CFC-107E3FD699E2}" destId="{95A6CD69-3843-8A40-A324-916683E32540}" srcOrd="0" destOrd="1" presId="urn:microsoft.com/office/officeart/2005/8/layout/hierarchy3"/>
    <dgm:cxn modelId="{3FC1C932-CF01-6846-86B7-A31F5E36814C}" type="presOf" srcId="{B576F23F-8379-F049-91E1-9BA3EB4A3E96}" destId="{E5990566-9713-274E-93F3-31CEB23232CD}" srcOrd="0" destOrd="3" presId="urn:microsoft.com/office/officeart/2005/8/layout/hierarchy3"/>
    <dgm:cxn modelId="{D36FA035-8D4F-4342-906B-6F7F916A4F8B}" type="presOf" srcId="{1A4F6A33-4864-214C-A924-80A7270045E2}" destId="{46239DB9-3EB8-D241-8152-A0472DC93422}" srcOrd="0" destOrd="0" presId="urn:microsoft.com/office/officeart/2005/8/layout/hierarchy3"/>
    <dgm:cxn modelId="{41B2F735-E900-3448-ACB3-6D916A6EFF39}" type="presOf" srcId="{D3AA0F1D-2087-2545-A85D-1888E8DDEC58}" destId="{E892E456-CACE-4545-9070-6398AF314809}" srcOrd="0" destOrd="0" presId="urn:microsoft.com/office/officeart/2005/8/layout/hierarchy3"/>
    <dgm:cxn modelId="{C94BDF37-23BF-C648-9D46-029AA048E947}" type="presOf" srcId="{47DED6B6-377C-8F47-AA95-12F95AF9DB78}" destId="{C2E97058-FE3B-A74E-8910-5381DB47B2B0}" srcOrd="0" destOrd="0" presId="urn:microsoft.com/office/officeart/2005/8/layout/hierarchy3"/>
    <dgm:cxn modelId="{010F2739-85AE-A646-BBD2-13D2217E22C9}" srcId="{1C70F24A-A764-B447-959A-DE94E8EE3D98}" destId="{B2864E8F-215B-7644-9968-B486B7788427}" srcOrd="2" destOrd="0" parTransId="{1C4C6EA8-3396-2047-8EE1-3269856CA052}" sibTransId="{4FFE940A-D3B3-0E46-AA7B-31470ECD766F}"/>
    <dgm:cxn modelId="{56BD843C-D619-D94D-8EA5-FCC3E017D8CF}" type="presOf" srcId="{0C949726-1744-CB4B-841E-B4159586C299}" destId="{EC76B473-4034-C24B-BC50-161698DFFA8E}" srcOrd="0" destOrd="0" presId="urn:microsoft.com/office/officeart/2005/8/layout/hierarchy3"/>
    <dgm:cxn modelId="{E4E40844-3FCA-684F-A3D5-C6E8AD110282}" srcId="{D3AA0F1D-2087-2545-A85D-1888E8DDEC58}" destId="{EF5FC1CC-607C-B04D-9A28-C289410777EE}" srcOrd="0" destOrd="0" parTransId="{010615DC-268C-7B49-8C07-E1CE54262E5E}" sibTransId="{74CF231E-CEF6-2244-8848-F242BAE2000E}"/>
    <dgm:cxn modelId="{5C06AE65-4EB4-48A4-9FF6-414CF4506BA7}" type="presOf" srcId="{33B3B844-7BD4-4F47-B7F2-B7471DC3BC14}" destId="{502EF3FD-8A7B-2547-BED5-352873207F5A}" srcOrd="0" destOrd="2" presId="urn:microsoft.com/office/officeart/2005/8/layout/hierarchy3"/>
    <dgm:cxn modelId="{ACB70266-A9BE-A046-B4E7-ED61335D59D6}" type="presOf" srcId="{99E9155D-4FE4-5D44-BCDE-E06378D3DBE2}" destId="{15F53404-EE8D-A348-9C16-921EE496B565}" srcOrd="0" destOrd="3" presId="urn:microsoft.com/office/officeart/2005/8/layout/hierarchy3"/>
    <dgm:cxn modelId="{7126C76A-0841-C244-B897-1A5DF58D7B3A}" type="presOf" srcId="{1C70F24A-A764-B447-959A-DE94E8EE3D98}" destId="{20AE1270-28BD-DA41-A7F6-5731C0F03D9C}" srcOrd="1" destOrd="0" presId="urn:microsoft.com/office/officeart/2005/8/layout/hierarchy3"/>
    <dgm:cxn modelId="{6D4C174B-74D4-46DF-802F-8F0CBDFB98AD}" srcId="{1A4F6A33-4864-214C-A924-80A7270045E2}" destId="{C1828395-7901-491D-8590-B705AA739D3C}" srcOrd="1" destOrd="0" parTransId="{372A7719-5407-438F-A5AC-2755D2476A45}" sibTransId="{BF8F513E-9405-4F3F-8062-FC655571A53C}"/>
    <dgm:cxn modelId="{87869C4C-D5C4-3144-AA44-42B9A8531C7A}" srcId="{9E668A67-E7AA-6F46-9444-9D0D29DB46E1}" destId="{B576F23F-8379-F049-91E1-9BA3EB4A3E96}" srcOrd="2" destOrd="0" parTransId="{8D366E1E-ECC7-2244-8908-AE67AC904D29}" sibTransId="{8446A15D-4630-2140-90F8-F454AFB4FD3C}"/>
    <dgm:cxn modelId="{BC0F766D-EFD8-0F45-AADF-291AF74E848C}" srcId="{6D326BAB-661B-0042-BC03-54ACD1E06AEA}" destId="{DAC5F1BD-AC63-DD47-ABE5-54120EF017B4}" srcOrd="0" destOrd="0" parTransId="{F03FEC2C-CC48-3443-A6AA-2293195E4A07}" sibTransId="{1ABF3098-35AD-F145-90FB-F90D4152DB3D}"/>
    <dgm:cxn modelId="{B69ABD6D-1C93-B446-8B3A-36B1E27AF900}" type="presOf" srcId="{B2864E8F-215B-7644-9968-B486B7788427}" destId="{15F53404-EE8D-A348-9C16-921EE496B565}" srcOrd="0" destOrd="0" presId="urn:microsoft.com/office/officeart/2005/8/layout/hierarchy3"/>
    <dgm:cxn modelId="{78708052-235C-0B48-819A-555E7B72EC25}" srcId="{AE14CDDC-21EB-D84C-9F30-8A0D0980A2BA}" destId="{20F47D8A-FB46-D74D-903E-6C6717EC0AC8}" srcOrd="2" destOrd="0" parTransId="{E9F05F15-A836-6944-995D-6C2D41E62836}" sibTransId="{4619F59B-D6DD-A745-B91A-DDB6C34DB9D7}"/>
    <dgm:cxn modelId="{37FDF772-67E4-A347-8278-23C6A571A5A0}" srcId="{B2864E8F-215B-7644-9968-B486B7788427}" destId="{99E9155D-4FE4-5D44-BCDE-E06378D3DBE2}" srcOrd="2" destOrd="0" parTransId="{1AB6541F-A705-AE4B-B363-952A132EF81D}" sibTransId="{9213EF71-43D6-0344-94EC-75E283DF7105}"/>
    <dgm:cxn modelId="{BAD95554-9BDA-0444-8FA2-D23639AD0AFD}" type="presOf" srcId="{2F11ECD7-7C2A-294B-A4A3-86D1D45E2859}" destId="{15F53404-EE8D-A348-9C16-921EE496B565}" srcOrd="0" destOrd="1" presId="urn:microsoft.com/office/officeart/2005/8/layout/hierarchy3"/>
    <dgm:cxn modelId="{B9B3D174-FA24-474D-83A6-B0831D8004A2}" type="presOf" srcId="{C6E1B750-85A8-AD4E-915E-BF8C90D93D4F}" destId="{0D55A70F-6DB8-DD4E-8DE0-47DEC7E4B8D7}" srcOrd="0" destOrd="0" presId="urn:microsoft.com/office/officeart/2005/8/layout/hierarchy3"/>
    <dgm:cxn modelId="{0EC5AA76-D1F1-BA4A-AD0F-2735F26A4078}" srcId="{B2864E8F-215B-7644-9968-B486B7788427}" destId="{2F11ECD7-7C2A-294B-A4A3-86D1D45E2859}" srcOrd="0" destOrd="0" parTransId="{A8ED51E9-CD6C-9A47-92C0-E5D477D55AE7}" sibTransId="{FFA7A2D8-1A26-4641-BE4B-CDB901F9B85F}"/>
    <dgm:cxn modelId="{5B2BFA79-44AB-5E49-B0F7-3D9CC5C3D308}" type="presOf" srcId="{63A1AEF4-9DB1-4442-92F4-0413B5948642}" destId="{0D55A70F-6DB8-DD4E-8DE0-47DEC7E4B8D7}" srcOrd="0" destOrd="3" presId="urn:microsoft.com/office/officeart/2005/8/layout/hierarchy3"/>
    <dgm:cxn modelId="{384DDD7C-6C5D-7D48-B772-E59A304686CB}" srcId="{35C505D0-7645-6C4D-B933-CF08D7700804}" destId="{D3AA0F1D-2087-2545-A85D-1888E8DDEC58}" srcOrd="0" destOrd="0" parTransId="{4107109D-D186-004B-AB13-3C7E101FF795}" sibTransId="{0DB7ADD3-10D3-B946-9D2C-417EF5CF3B77}"/>
    <dgm:cxn modelId="{E77F7C7E-2A3D-8E49-BC46-C4D5579692B4}" type="presOf" srcId="{3B8E5281-71D4-B04D-B0B1-A065D75398AB}" destId="{E5990566-9713-274E-93F3-31CEB23232CD}" srcOrd="0" destOrd="2" presId="urn:microsoft.com/office/officeart/2005/8/layout/hierarchy3"/>
    <dgm:cxn modelId="{625FD982-5EB0-F245-B0C0-7DAC5EC9F07D}" srcId="{35C505D0-7645-6C4D-B933-CF08D7700804}" destId="{1C70F24A-A764-B447-959A-DE94E8EE3D98}" srcOrd="1" destOrd="0" parTransId="{A40DE916-3310-5944-8272-D0BD9DC946FE}" sibTransId="{EEDAD755-A8CB-4943-9677-4645F8F3DB88}"/>
    <dgm:cxn modelId="{A599CF89-7453-4441-8A50-40CA528D27E5}" type="presOf" srcId="{D3AA0F1D-2087-2545-A85D-1888E8DDEC58}" destId="{27F7F4B3-4790-AF4F-9F0D-29147EBC669B}" srcOrd="1" destOrd="0" presId="urn:microsoft.com/office/officeart/2005/8/layout/hierarchy3"/>
    <dgm:cxn modelId="{01859591-5D5F-3243-9038-45057F471100}" type="presOf" srcId="{DAC5F1BD-AC63-DD47-ABE5-54120EF017B4}" destId="{F489C66C-AEA8-B54C-B36B-08D3DB650457}" srcOrd="0" destOrd="1" presId="urn:microsoft.com/office/officeart/2005/8/layout/hierarchy3"/>
    <dgm:cxn modelId="{6C07A592-B516-BE4E-852A-76DDCAED8819}" srcId="{1A4F6A33-4864-214C-A924-80A7270045E2}" destId="{4F231B71-4E17-F542-BA23-7D235CF6A46D}" srcOrd="0" destOrd="0" parTransId="{DF13A108-CE1A-F042-A96F-AC48791AA6C8}" sibTransId="{147878B1-2659-E340-ACFB-C956D9FCE026}"/>
    <dgm:cxn modelId="{EDA02694-3CD2-4445-BD78-B6D757FDF6A8}" srcId="{9E668A67-E7AA-6F46-9444-9D0D29DB46E1}" destId="{7E104D2E-C4C6-DB49-9F28-AAFC13C88B45}" srcOrd="0" destOrd="0" parTransId="{D52A0319-683C-2843-93BA-D9C17E0C120B}" sibTransId="{85022091-A189-9146-B592-E4434EBB082D}"/>
    <dgm:cxn modelId="{F64C7495-2B42-6D4E-966D-756C0B4A50C6}" type="presOf" srcId="{9E668A67-E7AA-6F46-9444-9D0D29DB46E1}" destId="{E5990566-9713-274E-93F3-31CEB23232CD}" srcOrd="0" destOrd="0" presId="urn:microsoft.com/office/officeart/2005/8/layout/hierarchy3"/>
    <dgm:cxn modelId="{35C77399-1404-A94D-998D-B0DBCFD522F1}" srcId="{AE14CDDC-21EB-D84C-9F30-8A0D0980A2BA}" destId="{2785DF9F-D43C-E74E-87AE-A777201258BD}" srcOrd="0" destOrd="0" parTransId="{0BB9338C-5AAF-9C4E-BEDA-D39A33EB42A3}" sibTransId="{E179A68A-4CC0-BA47-8E16-FE09AFB947B9}"/>
    <dgm:cxn modelId="{40B8019C-5458-D544-BB45-F21D2EBB58AA}" srcId="{C6E1B750-85A8-AD4E-915E-BF8C90D93D4F}" destId="{B7AAE589-C5AA-EE4A-92ED-321CD28A3515}" srcOrd="0" destOrd="0" parTransId="{E658ECED-2EFE-B245-8D58-B1B1163D3FC5}" sibTransId="{FD25E633-EC27-2F44-BE14-66A2AF54EB58}"/>
    <dgm:cxn modelId="{241F619D-C1D4-4D33-89B2-646A59DC7362}" type="presOf" srcId="{057C1F0F-E8D4-4986-8DC8-9D4684B2A204}" destId="{F489C66C-AEA8-B54C-B36B-08D3DB650457}" srcOrd="0" destOrd="2" presId="urn:microsoft.com/office/officeart/2005/8/layout/hierarchy3"/>
    <dgm:cxn modelId="{A292BCA2-5F7F-9E47-B32E-51E491229D4F}" type="presOf" srcId="{010615DC-268C-7B49-8C07-E1CE54262E5E}" destId="{80DE5084-8755-D34A-8A40-8679A7FDAA97}" srcOrd="0" destOrd="0" presId="urn:microsoft.com/office/officeart/2005/8/layout/hierarchy3"/>
    <dgm:cxn modelId="{D089E7A5-9F4A-6F44-B10E-24636E110DCC}" srcId="{2748A272-4C22-634D-A9AC-C2D19C65AA51}" destId="{1A4F6A33-4864-214C-A924-80A7270045E2}" srcOrd="2" destOrd="0" parTransId="{B5C68D1B-E742-B84D-A535-767B86C6CAC6}" sibTransId="{35ED7710-6F39-754E-A101-DE7F4B0C0116}"/>
    <dgm:cxn modelId="{AB1A99A8-1750-4846-BFA2-D5A0C7470B54}" type="presOf" srcId="{F40D655B-8CBA-4C49-B900-F31782B2E893}" destId="{502EF3FD-8A7B-2547-BED5-352873207F5A}" srcOrd="0" destOrd="0" presId="urn:microsoft.com/office/officeart/2005/8/layout/hierarchy3"/>
    <dgm:cxn modelId="{022DDAA8-8520-374D-BE56-B52DB17FAA45}" srcId="{C6E1B750-85A8-AD4E-915E-BF8C90D93D4F}" destId="{63A1AEF4-9DB1-4442-92F4-0413B5948642}" srcOrd="2" destOrd="0" parTransId="{F06B9758-EE7B-0045-A0A7-5462FA89261A}" sibTransId="{1E82D3C5-4C9B-9E41-A7BD-203DAF185109}"/>
    <dgm:cxn modelId="{AA213EA9-4C21-ED41-8762-426B1D84F5D3}" type="presOf" srcId="{164D750F-09DD-2941-B533-BDB57B668755}" destId="{7E9853B6-6A03-F44C-BF69-6BD297787D11}" srcOrd="0" destOrd="0" presId="urn:microsoft.com/office/officeart/2005/8/layout/hierarchy3"/>
    <dgm:cxn modelId="{FA260BAC-076E-114C-8AED-53FD446CB8E5}" type="presOf" srcId="{2785DF9F-D43C-E74E-87AE-A777201258BD}" destId="{9E28E7FF-E31C-C043-9871-3CEBF96318E6}" srcOrd="0" destOrd="1" presId="urn:microsoft.com/office/officeart/2005/8/layout/hierarchy3"/>
    <dgm:cxn modelId="{A6E35FAF-FEE5-E74E-93C6-9C354AF855FA}" srcId="{1C70F24A-A764-B447-959A-DE94E8EE3D98}" destId="{9E668A67-E7AA-6F46-9444-9D0D29DB46E1}" srcOrd="1" destOrd="0" parTransId="{47DED6B6-377C-8F47-AA95-12F95AF9DB78}" sibTransId="{8AA4AC8F-AD27-CB4F-B90C-5035598DA882}"/>
    <dgm:cxn modelId="{AE1578B0-1B47-4E10-A95F-D0C19208A03A}" srcId="{6D326BAB-661B-0042-BC03-54ACD1E06AEA}" destId="{057C1F0F-E8D4-4986-8DC8-9D4684B2A204}" srcOrd="1" destOrd="0" parTransId="{D4E8B480-DCA9-4A8F-8980-2712803DAD3B}" sibTransId="{5D5225F2-C817-47F1-903C-88E625025BD1}"/>
    <dgm:cxn modelId="{B4D4BDB5-1744-7C47-8DA1-A4EAA19081B0}" srcId="{C6E1B750-85A8-AD4E-915E-BF8C90D93D4F}" destId="{7CADBCE2-9851-3D48-918F-7FC30251D103}" srcOrd="1" destOrd="0" parTransId="{59529693-9A67-0640-B34E-F82AB9F74A70}" sibTransId="{EF0B197C-9535-DD46-80AC-BDA7367C583A}"/>
    <dgm:cxn modelId="{B7C569B6-87A1-FA42-8B69-28E62326D30C}" type="presOf" srcId="{7CADBCE2-9851-3D48-918F-7FC30251D103}" destId="{0D55A70F-6DB8-DD4E-8DE0-47DEC7E4B8D7}" srcOrd="0" destOrd="2" presId="urn:microsoft.com/office/officeart/2005/8/layout/hierarchy3"/>
    <dgm:cxn modelId="{5DF08CB9-59C7-6043-BD4D-57DD7A4CFD01}" type="presOf" srcId="{6D326BAB-661B-0042-BC03-54ACD1E06AEA}" destId="{F489C66C-AEA8-B54C-B36B-08D3DB650457}" srcOrd="0" destOrd="0" presId="urn:microsoft.com/office/officeart/2005/8/layout/hierarchy3"/>
    <dgm:cxn modelId="{3AB36FBE-264A-4C40-89B5-0DC9BCEF0B08}" type="presOf" srcId="{B5C68D1B-E742-B84D-A535-767B86C6CAC6}" destId="{31F77E78-2C91-994E-A1E1-92B382A028D7}" srcOrd="0" destOrd="0" presId="urn:microsoft.com/office/officeart/2005/8/layout/hierarchy3"/>
    <dgm:cxn modelId="{21D7F6BF-4FCB-EA4F-8BAA-76D5C869C35A}" type="presOf" srcId="{2748A272-4C22-634D-A9AC-C2D19C65AA51}" destId="{192D0F5F-829F-0F4E-8443-C42CD651EED1}" srcOrd="1" destOrd="0" presId="urn:microsoft.com/office/officeart/2005/8/layout/hierarchy3"/>
    <dgm:cxn modelId="{C60B8FC1-9079-F848-928A-CAA3E5D20712}" type="presOf" srcId="{4F231B71-4E17-F542-BA23-7D235CF6A46D}" destId="{46239DB9-3EB8-D241-8152-A0472DC93422}" srcOrd="0" destOrd="1" presId="urn:microsoft.com/office/officeart/2005/8/layout/hierarchy3"/>
    <dgm:cxn modelId="{AAC44DC3-000C-4714-8B1D-F28FB660CDF4}" type="presOf" srcId="{C1828395-7901-491D-8590-B705AA739D3C}" destId="{46239DB9-3EB8-D241-8152-A0472DC93422}" srcOrd="0" destOrd="2" presId="urn:microsoft.com/office/officeart/2005/8/layout/hierarchy3"/>
    <dgm:cxn modelId="{ADD087C7-9581-DE48-B1D3-FDE4CCFE3126}" type="presOf" srcId="{B88A0633-63C7-FF43-97BF-62973BE0AA02}" destId="{502EF3FD-8A7B-2547-BED5-352873207F5A}" srcOrd="0" destOrd="1" presId="urn:microsoft.com/office/officeart/2005/8/layout/hierarchy3"/>
    <dgm:cxn modelId="{B730A2C7-1A14-4A4F-BC0E-6C602244ABD6}" type="presOf" srcId="{3306E722-455F-5A4F-9983-9CB846A6029E}" destId="{15F53404-EE8D-A348-9C16-921EE496B565}" srcOrd="0" destOrd="2" presId="urn:microsoft.com/office/officeart/2005/8/layout/hierarchy3"/>
    <dgm:cxn modelId="{E5ECAEC7-1E0D-2C42-B4FD-FFDAD115D70F}" type="presOf" srcId="{7E104D2E-C4C6-DB49-9F28-AAFC13C88B45}" destId="{E5990566-9713-274E-93F3-31CEB23232CD}" srcOrd="0" destOrd="1" presId="urn:microsoft.com/office/officeart/2005/8/layout/hierarchy3"/>
    <dgm:cxn modelId="{E397AEC9-07C9-C047-9F6C-7045F928BD16}" type="presOf" srcId="{1C6631C0-0A44-2646-A5F3-CC42DFA0D0EC}" destId="{615DE7ED-EDC6-DE42-98B7-0A5C9145FD97}" srcOrd="0" destOrd="0" presId="urn:microsoft.com/office/officeart/2005/8/layout/hierarchy3"/>
    <dgm:cxn modelId="{A490C6CF-183A-CD48-813C-4B56EC3D3F65}" srcId="{AE14CDDC-21EB-D84C-9F30-8A0D0980A2BA}" destId="{DCC76C31-E8F1-5E43-9F40-B09E8C12BA0F}" srcOrd="1" destOrd="0" parTransId="{CF788FB0-D9F5-684A-BD83-3332B6FC606D}" sibTransId="{BC53485A-0270-1B46-97ED-D72DE3A44557}"/>
    <dgm:cxn modelId="{92052ED0-65CA-A741-AFB6-CB3A37A2DB19}" type="presOf" srcId="{2748A272-4C22-634D-A9AC-C2D19C65AA51}" destId="{0C11D4A3-AB44-B34A-BC17-5B385D75D1F9}" srcOrd="0" destOrd="0" presId="urn:microsoft.com/office/officeart/2005/8/layout/hierarchy3"/>
    <dgm:cxn modelId="{FE23E6D3-72B3-094E-B50D-979A07AD66E4}" type="presOf" srcId="{B7AAE589-C5AA-EE4A-92ED-321CD28A3515}" destId="{0D55A70F-6DB8-DD4E-8DE0-47DEC7E4B8D7}" srcOrd="0" destOrd="1" presId="urn:microsoft.com/office/officeart/2005/8/layout/hierarchy3"/>
    <dgm:cxn modelId="{3B3904D4-30D3-6246-A0ED-83E5A2E04E0D}" srcId="{F40D655B-8CBA-4C49-B900-F31782B2E893}" destId="{B88A0633-63C7-FF43-97BF-62973BE0AA02}" srcOrd="0" destOrd="0" parTransId="{34315627-FF06-514C-9738-1BEF93ABF083}" sibTransId="{315D5106-4930-3F43-83F0-B542FCC65539}"/>
    <dgm:cxn modelId="{1C7B27E0-4487-7248-B087-0755CA3FA979}" srcId="{2748A272-4C22-634D-A9AC-C2D19C65AA51}" destId="{F40D655B-8CBA-4C49-B900-F31782B2E893}" srcOrd="1" destOrd="0" parTransId="{FC77F889-D124-1146-9BE2-C0C46E21AEDD}" sibTransId="{8DD9F1CB-4061-874D-92A5-36294F0732B2}"/>
    <dgm:cxn modelId="{99FEA2E4-5986-8440-A2DE-DC7C0EAEFF62}" type="presOf" srcId="{B4636997-688E-2543-BD66-9AB7B17596AD}" destId="{DBAF2BA4-2257-3F46-9341-45BFD8C6F294}" srcOrd="0" destOrd="0" presId="urn:microsoft.com/office/officeart/2005/8/layout/hierarchy3"/>
    <dgm:cxn modelId="{36AFF1E5-E15F-0242-A200-9922456EF424}" srcId="{D3AA0F1D-2087-2545-A85D-1888E8DDEC58}" destId="{AE14CDDC-21EB-D84C-9F30-8A0D0980A2BA}" srcOrd="2" destOrd="0" parTransId="{B4636997-688E-2543-BD66-9AB7B17596AD}" sibTransId="{44D30EA9-104C-EF43-8AD1-BFBF1E32FD09}"/>
    <dgm:cxn modelId="{618DEDE6-AE3E-6742-87DF-2D85D45DD905}" type="presOf" srcId="{1C4C6EA8-3396-2047-8EE1-3269856CA052}" destId="{6A95AA93-E2F3-E246-92BD-EDA7A032046B}" srcOrd="0" destOrd="0" presId="urn:microsoft.com/office/officeart/2005/8/layout/hierarchy3"/>
    <dgm:cxn modelId="{7A26A0EA-82B7-F940-A0CC-5069FF565FD1}" srcId="{9E668A67-E7AA-6F46-9444-9D0D29DB46E1}" destId="{3B8E5281-71D4-B04D-B0B1-A065D75398AB}" srcOrd="1" destOrd="0" parTransId="{DEEEAA5A-9EEC-E94B-BDEF-88BAFC648722}" sibTransId="{CF94FCE6-590C-6942-BE93-AF2690BEBC6D}"/>
    <dgm:cxn modelId="{92D329EC-7B6F-8943-816D-AF7C87B4186C}" type="presOf" srcId="{EF5FC1CC-607C-B04D-9A28-C289410777EE}" destId="{95A6CD69-3843-8A40-A324-916683E32540}" srcOrd="0" destOrd="0" presId="urn:microsoft.com/office/officeart/2005/8/layout/hierarchy3"/>
    <dgm:cxn modelId="{6DEC78F2-B82D-EA47-8D98-BCD51AF9171C}" type="presOf" srcId="{A570FBBC-4F7A-EF4F-BD4D-4FC24E44F341}" destId="{E208B1FB-C71B-BD4C-8FD0-C18B50036A3A}" srcOrd="0" destOrd="0" presId="urn:microsoft.com/office/officeart/2005/8/layout/hierarchy3"/>
    <dgm:cxn modelId="{8171C3F2-731F-6246-B476-2DA9FD48EFC7}" srcId="{1C70F24A-A764-B447-959A-DE94E8EE3D98}" destId="{1C6631C0-0A44-2646-A5F3-CC42DFA0D0EC}" srcOrd="0" destOrd="0" parTransId="{164D750F-09DD-2941-B533-BDB57B668755}" sibTransId="{B947FF32-4C81-6943-A84D-046D8F176281}"/>
    <dgm:cxn modelId="{DD1D42F4-DE6D-6B42-91F5-C8D35D631244}" type="presOf" srcId="{DCC76C31-E8F1-5E43-9F40-B09E8C12BA0F}" destId="{9E28E7FF-E31C-C043-9871-3CEBF96318E6}" srcOrd="0" destOrd="2" presId="urn:microsoft.com/office/officeart/2005/8/layout/hierarchy3"/>
    <dgm:cxn modelId="{195E50F4-73CB-AC45-B2BD-D648EF3E3EE9}" srcId="{B2864E8F-215B-7644-9968-B486B7788427}" destId="{3306E722-455F-5A4F-9983-9CB846A6029E}" srcOrd="1" destOrd="0" parTransId="{B1DB0B44-9680-F449-92F3-0243D8785D75}" sibTransId="{896AF304-1E07-7B44-91EA-805ED9798CB7}"/>
    <dgm:cxn modelId="{CE3E7CF4-2E41-DF46-BEB8-E15CBB9C6F7A}" type="presOf" srcId="{20F47D8A-FB46-D74D-903E-6C6717EC0AC8}" destId="{9E28E7FF-E31C-C043-9871-3CEBF96318E6}" srcOrd="0" destOrd="3" presId="urn:microsoft.com/office/officeart/2005/8/layout/hierarchy3"/>
    <dgm:cxn modelId="{5CD8ADF5-38DA-5549-A923-B343697EE764}" type="presOf" srcId="{35C505D0-7645-6C4D-B933-CF08D7700804}" destId="{958337F7-257C-6E4C-8B60-1DE8A4107146}" srcOrd="0" destOrd="0" presId="urn:microsoft.com/office/officeart/2005/8/layout/hierarchy3"/>
    <dgm:cxn modelId="{31A52BC7-E936-F74B-9A1E-795ABD09FB85}" type="presParOf" srcId="{958337F7-257C-6E4C-8B60-1DE8A4107146}" destId="{46329F7B-EFCC-224F-B9D8-A9EC9766C3CD}" srcOrd="0" destOrd="0" presId="urn:microsoft.com/office/officeart/2005/8/layout/hierarchy3"/>
    <dgm:cxn modelId="{E951A2A5-6693-1A4F-AA67-FE6ED553B78E}" type="presParOf" srcId="{46329F7B-EFCC-224F-B9D8-A9EC9766C3CD}" destId="{DE72C6C9-B4CC-5741-B9DC-29282F98CE68}" srcOrd="0" destOrd="0" presId="urn:microsoft.com/office/officeart/2005/8/layout/hierarchy3"/>
    <dgm:cxn modelId="{3D4E7D17-63F4-BB47-A939-0372A93F5628}" type="presParOf" srcId="{DE72C6C9-B4CC-5741-B9DC-29282F98CE68}" destId="{E892E456-CACE-4545-9070-6398AF314809}" srcOrd="0" destOrd="0" presId="urn:microsoft.com/office/officeart/2005/8/layout/hierarchy3"/>
    <dgm:cxn modelId="{C6D66BF5-46A8-1649-96C8-4531588C5EF9}" type="presParOf" srcId="{DE72C6C9-B4CC-5741-B9DC-29282F98CE68}" destId="{27F7F4B3-4790-AF4F-9F0D-29147EBC669B}" srcOrd="1" destOrd="0" presId="urn:microsoft.com/office/officeart/2005/8/layout/hierarchy3"/>
    <dgm:cxn modelId="{253D09BD-3FE2-BC42-B8C3-508D6D379671}" type="presParOf" srcId="{46329F7B-EFCC-224F-B9D8-A9EC9766C3CD}" destId="{02B44A2C-C6BF-7047-8746-FA3F12348D3D}" srcOrd="1" destOrd="0" presId="urn:microsoft.com/office/officeart/2005/8/layout/hierarchy3"/>
    <dgm:cxn modelId="{42CC077B-ACE6-354A-B700-FE263DA6D847}" type="presParOf" srcId="{02B44A2C-C6BF-7047-8746-FA3F12348D3D}" destId="{80DE5084-8755-D34A-8A40-8679A7FDAA97}" srcOrd="0" destOrd="0" presId="urn:microsoft.com/office/officeart/2005/8/layout/hierarchy3"/>
    <dgm:cxn modelId="{2CFA0605-52BD-A04C-B152-6AF8005CAC0B}" type="presParOf" srcId="{02B44A2C-C6BF-7047-8746-FA3F12348D3D}" destId="{95A6CD69-3843-8A40-A324-916683E32540}" srcOrd="1" destOrd="0" presId="urn:microsoft.com/office/officeart/2005/8/layout/hierarchy3"/>
    <dgm:cxn modelId="{95106471-8789-0C4C-9A5A-14D0AB0C401F}" type="presParOf" srcId="{02B44A2C-C6BF-7047-8746-FA3F12348D3D}" destId="{EC76B473-4034-C24B-BC50-161698DFFA8E}" srcOrd="2" destOrd="0" presId="urn:microsoft.com/office/officeart/2005/8/layout/hierarchy3"/>
    <dgm:cxn modelId="{F9A45531-4E24-E64A-BA84-38B4D99A0607}" type="presParOf" srcId="{02B44A2C-C6BF-7047-8746-FA3F12348D3D}" destId="{0D55A70F-6DB8-DD4E-8DE0-47DEC7E4B8D7}" srcOrd="3" destOrd="0" presId="urn:microsoft.com/office/officeart/2005/8/layout/hierarchy3"/>
    <dgm:cxn modelId="{76F14A89-ACCA-D041-9499-545DCD77285C}" type="presParOf" srcId="{02B44A2C-C6BF-7047-8746-FA3F12348D3D}" destId="{DBAF2BA4-2257-3F46-9341-45BFD8C6F294}" srcOrd="4" destOrd="0" presId="urn:microsoft.com/office/officeart/2005/8/layout/hierarchy3"/>
    <dgm:cxn modelId="{5BDADD26-647B-184D-A43B-588C78CC8FAA}" type="presParOf" srcId="{02B44A2C-C6BF-7047-8746-FA3F12348D3D}" destId="{9E28E7FF-E31C-C043-9871-3CEBF96318E6}" srcOrd="5" destOrd="0" presId="urn:microsoft.com/office/officeart/2005/8/layout/hierarchy3"/>
    <dgm:cxn modelId="{ED9B6464-0020-7D40-87AB-2415BF642412}" type="presParOf" srcId="{958337F7-257C-6E4C-8B60-1DE8A4107146}" destId="{939EF66B-8BB6-AE48-BD40-DC5D89C187A4}" srcOrd="1" destOrd="0" presId="urn:microsoft.com/office/officeart/2005/8/layout/hierarchy3"/>
    <dgm:cxn modelId="{552C74A0-C570-6643-87CD-228A57BDE1AB}" type="presParOf" srcId="{939EF66B-8BB6-AE48-BD40-DC5D89C187A4}" destId="{56248E5F-1B34-F34D-AB88-F7FEB3D0636D}" srcOrd="0" destOrd="0" presId="urn:microsoft.com/office/officeart/2005/8/layout/hierarchy3"/>
    <dgm:cxn modelId="{FD383E3F-A00D-3543-AE48-C658FB31D321}" type="presParOf" srcId="{56248E5F-1B34-F34D-AB88-F7FEB3D0636D}" destId="{0BAD0218-A86B-F245-8FB1-F2E8167BA360}" srcOrd="0" destOrd="0" presId="urn:microsoft.com/office/officeart/2005/8/layout/hierarchy3"/>
    <dgm:cxn modelId="{B3AA212F-3DFD-FC4E-A417-0AA3D73147BD}" type="presParOf" srcId="{56248E5F-1B34-F34D-AB88-F7FEB3D0636D}" destId="{20AE1270-28BD-DA41-A7F6-5731C0F03D9C}" srcOrd="1" destOrd="0" presId="urn:microsoft.com/office/officeart/2005/8/layout/hierarchy3"/>
    <dgm:cxn modelId="{BA013F5B-35DE-2947-B767-EAEBA7FBCB9A}" type="presParOf" srcId="{939EF66B-8BB6-AE48-BD40-DC5D89C187A4}" destId="{C92D4A00-25AF-C04F-85C6-D2B57FC84D43}" srcOrd="1" destOrd="0" presId="urn:microsoft.com/office/officeart/2005/8/layout/hierarchy3"/>
    <dgm:cxn modelId="{566A343E-3A82-8D4E-AEF3-5BC6FCCA674B}" type="presParOf" srcId="{C92D4A00-25AF-C04F-85C6-D2B57FC84D43}" destId="{7E9853B6-6A03-F44C-BF69-6BD297787D11}" srcOrd="0" destOrd="0" presId="urn:microsoft.com/office/officeart/2005/8/layout/hierarchy3"/>
    <dgm:cxn modelId="{88CE82C2-F95B-6745-A25F-C77675E5B113}" type="presParOf" srcId="{C92D4A00-25AF-C04F-85C6-D2B57FC84D43}" destId="{615DE7ED-EDC6-DE42-98B7-0A5C9145FD97}" srcOrd="1" destOrd="0" presId="urn:microsoft.com/office/officeart/2005/8/layout/hierarchy3"/>
    <dgm:cxn modelId="{A941DAED-3779-704F-A072-9751698F3855}" type="presParOf" srcId="{C92D4A00-25AF-C04F-85C6-D2B57FC84D43}" destId="{C2E97058-FE3B-A74E-8910-5381DB47B2B0}" srcOrd="2" destOrd="0" presId="urn:microsoft.com/office/officeart/2005/8/layout/hierarchy3"/>
    <dgm:cxn modelId="{6ABDD264-BB56-1C4E-9DFF-1CDB21AF657E}" type="presParOf" srcId="{C92D4A00-25AF-C04F-85C6-D2B57FC84D43}" destId="{E5990566-9713-274E-93F3-31CEB23232CD}" srcOrd="3" destOrd="0" presId="urn:microsoft.com/office/officeart/2005/8/layout/hierarchy3"/>
    <dgm:cxn modelId="{BC0A3689-1EF8-C84B-AA5D-150B826B05F2}" type="presParOf" srcId="{C92D4A00-25AF-C04F-85C6-D2B57FC84D43}" destId="{6A95AA93-E2F3-E246-92BD-EDA7A032046B}" srcOrd="4" destOrd="0" presId="urn:microsoft.com/office/officeart/2005/8/layout/hierarchy3"/>
    <dgm:cxn modelId="{47662800-4E96-BC43-80B0-FE2CA78B333D}" type="presParOf" srcId="{C92D4A00-25AF-C04F-85C6-D2B57FC84D43}" destId="{15F53404-EE8D-A348-9C16-921EE496B565}" srcOrd="5" destOrd="0" presId="urn:microsoft.com/office/officeart/2005/8/layout/hierarchy3"/>
    <dgm:cxn modelId="{F922288B-8DF4-8944-B5EA-A895FFAC18F6}" type="presParOf" srcId="{958337F7-257C-6E4C-8B60-1DE8A4107146}" destId="{40EF49E4-45C5-3A4A-9DBE-36369C2D981D}" srcOrd="2" destOrd="0" presId="urn:microsoft.com/office/officeart/2005/8/layout/hierarchy3"/>
    <dgm:cxn modelId="{41B4BF84-82FC-DF4B-81B3-768571242659}" type="presParOf" srcId="{40EF49E4-45C5-3A4A-9DBE-36369C2D981D}" destId="{175748F6-B428-264E-9E4E-A2902372FB6E}" srcOrd="0" destOrd="0" presId="urn:microsoft.com/office/officeart/2005/8/layout/hierarchy3"/>
    <dgm:cxn modelId="{DC46D5F8-0368-C347-9ED7-B2748AE7EBD3}" type="presParOf" srcId="{175748F6-B428-264E-9E4E-A2902372FB6E}" destId="{0C11D4A3-AB44-B34A-BC17-5B385D75D1F9}" srcOrd="0" destOrd="0" presId="urn:microsoft.com/office/officeart/2005/8/layout/hierarchy3"/>
    <dgm:cxn modelId="{70C13CED-DB79-8B41-8AA3-6EF257A75A09}" type="presParOf" srcId="{175748F6-B428-264E-9E4E-A2902372FB6E}" destId="{192D0F5F-829F-0F4E-8443-C42CD651EED1}" srcOrd="1" destOrd="0" presId="urn:microsoft.com/office/officeart/2005/8/layout/hierarchy3"/>
    <dgm:cxn modelId="{7172AFED-0E16-444D-BCFD-AF0E1EEE09CD}" type="presParOf" srcId="{40EF49E4-45C5-3A4A-9DBE-36369C2D981D}" destId="{C73DE158-2352-7D42-BDE8-2B8E26DACE9B}" srcOrd="1" destOrd="0" presId="urn:microsoft.com/office/officeart/2005/8/layout/hierarchy3"/>
    <dgm:cxn modelId="{957DAFDA-9EFF-1D4B-B842-A1FD9D3E4217}" type="presParOf" srcId="{C73DE158-2352-7D42-BDE8-2B8E26DACE9B}" destId="{E208B1FB-C71B-BD4C-8FD0-C18B50036A3A}" srcOrd="0" destOrd="0" presId="urn:microsoft.com/office/officeart/2005/8/layout/hierarchy3"/>
    <dgm:cxn modelId="{9CC071AD-BE1E-304E-A34F-8A3C33B467F8}" type="presParOf" srcId="{C73DE158-2352-7D42-BDE8-2B8E26DACE9B}" destId="{F489C66C-AEA8-B54C-B36B-08D3DB650457}" srcOrd="1" destOrd="0" presId="urn:microsoft.com/office/officeart/2005/8/layout/hierarchy3"/>
    <dgm:cxn modelId="{5FBE0293-ADE3-C848-B099-DA0B4705B977}" type="presParOf" srcId="{C73DE158-2352-7D42-BDE8-2B8E26DACE9B}" destId="{665F752E-91F4-E447-8EF9-2FF654EC3A0A}" srcOrd="2" destOrd="0" presId="urn:microsoft.com/office/officeart/2005/8/layout/hierarchy3"/>
    <dgm:cxn modelId="{343A4B6B-DCF1-3443-BAC4-6FD9E3849FD0}" type="presParOf" srcId="{C73DE158-2352-7D42-BDE8-2B8E26DACE9B}" destId="{502EF3FD-8A7B-2547-BED5-352873207F5A}" srcOrd="3" destOrd="0" presId="urn:microsoft.com/office/officeart/2005/8/layout/hierarchy3"/>
    <dgm:cxn modelId="{030E239B-5C9D-A540-90E6-AA250DD51446}" type="presParOf" srcId="{C73DE158-2352-7D42-BDE8-2B8E26DACE9B}" destId="{31F77E78-2C91-994E-A1E1-92B382A028D7}" srcOrd="4" destOrd="0" presId="urn:microsoft.com/office/officeart/2005/8/layout/hierarchy3"/>
    <dgm:cxn modelId="{FDCB143D-1F91-FB45-A54D-47404E915D65}" type="presParOf" srcId="{C73DE158-2352-7D42-BDE8-2B8E26DACE9B}" destId="{46239DB9-3EB8-D241-8152-A0472DC93422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D3B27E6-BAF0-C74F-9EE4-AF2ED79CBBC9}" type="doc">
      <dgm:prSet loTypeId="urn:microsoft.com/office/officeart/2005/8/layout/hProcess9" loCatId="" qsTypeId="urn:microsoft.com/office/officeart/2005/8/quickstyle/simple1" qsCatId="simple" csTypeId="urn:microsoft.com/office/officeart/2005/8/colors/colorful2" csCatId="colorful" phldr="1"/>
      <dgm:spPr/>
    </dgm:pt>
    <dgm:pt modelId="{E5BEEA7D-B71A-374A-8473-72A3776CED01}">
      <dgm:prSet phldrT="[Text]"/>
      <dgm:spPr/>
      <dgm:t>
        <a:bodyPr/>
        <a:lstStyle/>
        <a:p>
          <a:r>
            <a:rPr lang="en-US" dirty="0">
              <a:latin typeface="+mn-lt"/>
            </a:rPr>
            <a:t>Draft</a:t>
          </a:r>
        </a:p>
      </dgm:t>
    </dgm:pt>
    <dgm:pt modelId="{D5104084-7814-5448-8A40-0AF780D6A21C}" type="parTrans" cxnId="{5AE0E547-F1F3-864B-B31C-02D30E9CAC25}">
      <dgm:prSet/>
      <dgm:spPr/>
      <dgm:t>
        <a:bodyPr/>
        <a:lstStyle/>
        <a:p>
          <a:endParaRPr lang="en-US"/>
        </a:p>
      </dgm:t>
    </dgm:pt>
    <dgm:pt modelId="{8254C925-F1EE-4D48-9AF2-9417FB1F0046}" type="sibTrans" cxnId="{5AE0E547-F1F3-864B-B31C-02D30E9CAC25}">
      <dgm:prSet/>
      <dgm:spPr/>
      <dgm:t>
        <a:bodyPr/>
        <a:lstStyle/>
        <a:p>
          <a:endParaRPr lang="en-US"/>
        </a:p>
      </dgm:t>
    </dgm:pt>
    <dgm:pt modelId="{44FBD7C7-5B64-764C-B761-89D05E7C0EA4}">
      <dgm:prSet phldrT="[Text]"/>
      <dgm:spPr/>
      <dgm:t>
        <a:bodyPr/>
        <a:lstStyle/>
        <a:p>
          <a:r>
            <a:rPr lang="en-US" dirty="0">
              <a:latin typeface="+mn-lt"/>
            </a:rPr>
            <a:t>Awaiting Approval</a:t>
          </a:r>
        </a:p>
      </dgm:t>
    </dgm:pt>
    <dgm:pt modelId="{63AC44AD-F345-1E40-924D-669D153DACAF}" type="parTrans" cxnId="{A390ECC4-A463-F942-BA57-E8C4B84D00E4}">
      <dgm:prSet/>
      <dgm:spPr/>
      <dgm:t>
        <a:bodyPr/>
        <a:lstStyle/>
        <a:p>
          <a:endParaRPr lang="en-US"/>
        </a:p>
      </dgm:t>
    </dgm:pt>
    <dgm:pt modelId="{27B78BD5-A12A-044B-984A-CE152EF1D702}" type="sibTrans" cxnId="{A390ECC4-A463-F942-BA57-E8C4B84D00E4}">
      <dgm:prSet/>
      <dgm:spPr/>
      <dgm:t>
        <a:bodyPr/>
        <a:lstStyle/>
        <a:p>
          <a:endParaRPr lang="en-US"/>
        </a:p>
      </dgm:t>
    </dgm:pt>
    <dgm:pt modelId="{AEA8E7C8-BF5C-A343-B9AE-160C9AA3A8E6}">
      <dgm:prSet phldrT="[Text]"/>
      <dgm:spPr/>
      <dgm:t>
        <a:bodyPr/>
        <a:lstStyle/>
        <a:p>
          <a:r>
            <a:rPr lang="en-US" dirty="0">
              <a:latin typeface="+mn-lt"/>
            </a:rPr>
            <a:t>Awaiting Implementation</a:t>
          </a:r>
        </a:p>
      </dgm:t>
    </dgm:pt>
    <dgm:pt modelId="{523B86CE-6CFA-D946-954B-DD25809286FF}" type="parTrans" cxnId="{499D8045-9E50-D44B-9C76-3C0AFC35E29E}">
      <dgm:prSet/>
      <dgm:spPr/>
      <dgm:t>
        <a:bodyPr/>
        <a:lstStyle/>
        <a:p>
          <a:endParaRPr lang="en-US"/>
        </a:p>
      </dgm:t>
    </dgm:pt>
    <dgm:pt modelId="{830FE5F9-BFAB-E64C-811C-B327550FEC7C}" type="sibTrans" cxnId="{499D8045-9E50-D44B-9C76-3C0AFC35E29E}">
      <dgm:prSet/>
      <dgm:spPr/>
      <dgm:t>
        <a:bodyPr/>
        <a:lstStyle/>
        <a:p>
          <a:endParaRPr lang="en-US"/>
        </a:p>
      </dgm:t>
    </dgm:pt>
    <dgm:pt modelId="{462BF2C6-74B3-164F-9631-D958B474F8A0}">
      <dgm:prSet phldrT="[Text]"/>
      <dgm:spPr/>
      <dgm:t>
        <a:bodyPr/>
        <a:lstStyle/>
        <a:p>
          <a:r>
            <a:rPr lang="en-US" dirty="0">
              <a:latin typeface="+mn-lt"/>
            </a:rPr>
            <a:t>Implement</a:t>
          </a:r>
        </a:p>
      </dgm:t>
    </dgm:pt>
    <dgm:pt modelId="{645FDE21-8325-2B47-9565-55A406C15B3B}" type="parTrans" cxnId="{16C7F0C1-46D9-CB4B-A266-ED00FFE6594A}">
      <dgm:prSet/>
      <dgm:spPr/>
      <dgm:t>
        <a:bodyPr/>
        <a:lstStyle/>
        <a:p>
          <a:endParaRPr lang="en-US"/>
        </a:p>
      </dgm:t>
    </dgm:pt>
    <dgm:pt modelId="{C8E94547-FE5E-7342-9484-E1313A06D53A}" type="sibTrans" cxnId="{16C7F0C1-46D9-CB4B-A266-ED00FFE6594A}">
      <dgm:prSet/>
      <dgm:spPr/>
      <dgm:t>
        <a:bodyPr/>
        <a:lstStyle/>
        <a:p>
          <a:endParaRPr lang="en-US"/>
        </a:p>
      </dgm:t>
    </dgm:pt>
    <dgm:pt modelId="{781BEAE0-E602-AA44-BC5D-B272E48A7429}">
      <dgm:prSet phldrT="[Text]"/>
      <dgm:spPr/>
      <dgm:t>
        <a:bodyPr/>
        <a:lstStyle/>
        <a:p>
          <a:r>
            <a:rPr lang="en-US" dirty="0">
              <a:latin typeface="+mn-lt"/>
            </a:rPr>
            <a:t>Support</a:t>
          </a:r>
        </a:p>
      </dgm:t>
    </dgm:pt>
    <dgm:pt modelId="{BD4978C9-64E8-F343-979D-215FAF9AF3F2}" type="parTrans" cxnId="{D060E27F-4DAE-5044-B1B1-8163351D9213}">
      <dgm:prSet/>
      <dgm:spPr/>
      <dgm:t>
        <a:bodyPr/>
        <a:lstStyle/>
        <a:p>
          <a:endParaRPr lang="en-US"/>
        </a:p>
      </dgm:t>
    </dgm:pt>
    <dgm:pt modelId="{4AC60AE7-D063-1946-9ADE-0F773763D49A}" type="sibTrans" cxnId="{D060E27F-4DAE-5044-B1B1-8163351D9213}">
      <dgm:prSet/>
      <dgm:spPr/>
      <dgm:t>
        <a:bodyPr/>
        <a:lstStyle/>
        <a:p>
          <a:endParaRPr lang="en-US"/>
        </a:p>
      </dgm:t>
    </dgm:pt>
    <dgm:pt modelId="{06622A62-DAE8-3140-87A5-39936846C036}">
      <dgm:prSet phldrT="[Text]"/>
      <dgm:spPr/>
      <dgm:t>
        <a:bodyPr/>
        <a:lstStyle/>
        <a:p>
          <a:r>
            <a:rPr lang="en-US" dirty="0">
              <a:latin typeface="+mn-lt"/>
            </a:rPr>
            <a:t>Close</a:t>
          </a:r>
        </a:p>
      </dgm:t>
    </dgm:pt>
    <dgm:pt modelId="{7DCAA482-FC06-B24E-8703-22C900A7F6B7}" type="parTrans" cxnId="{4F669E24-5441-CC45-8321-2845611F65F9}">
      <dgm:prSet/>
      <dgm:spPr/>
      <dgm:t>
        <a:bodyPr/>
        <a:lstStyle/>
        <a:p>
          <a:endParaRPr lang="en-US"/>
        </a:p>
      </dgm:t>
    </dgm:pt>
    <dgm:pt modelId="{2F310D48-C444-A940-BDF9-36C0A096C637}" type="sibTrans" cxnId="{4F669E24-5441-CC45-8321-2845611F65F9}">
      <dgm:prSet/>
      <dgm:spPr/>
      <dgm:t>
        <a:bodyPr/>
        <a:lstStyle/>
        <a:p>
          <a:endParaRPr lang="en-US"/>
        </a:p>
      </dgm:t>
    </dgm:pt>
    <dgm:pt modelId="{5348D061-19EB-274F-AB76-3CD47B5FF5A7}" type="pres">
      <dgm:prSet presAssocID="{3D3B27E6-BAF0-C74F-9EE4-AF2ED79CBBC9}" presName="CompostProcess" presStyleCnt="0">
        <dgm:presLayoutVars>
          <dgm:dir/>
          <dgm:resizeHandles val="exact"/>
        </dgm:presLayoutVars>
      </dgm:prSet>
      <dgm:spPr/>
    </dgm:pt>
    <dgm:pt modelId="{1E8C46E5-C2EF-3E48-8075-D685A02C71CF}" type="pres">
      <dgm:prSet presAssocID="{3D3B27E6-BAF0-C74F-9EE4-AF2ED79CBBC9}" presName="arrow" presStyleLbl="bgShp" presStyleIdx="0" presStyleCnt="1"/>
      <dgm:spPr/>
    </dgm:pt>
    <dgm:pt modelId="{EA0704F3-A346-9843-9DBE-012A96389FB6}" type="pres">
      <dgm:prSet presAssocID="{3D3B27E6-BAF0-C74F-9EE4-AF2ED79CBBC9}" presName="linearProcess" presStyleCnt="0"/>
      <dgm:spPr/>
    </dgm:pt>
    <dgm:pt modelId="{171F35C9-9847-6F42-A508-D68A8ABB34E6}" type="pres">
      <dgm:prSet presAssocID="{E5BEEA7D-B71A-374A-8473-72A3776CED01}" presName="textNode" presStyleLbl="node1" presStyleIdx="0" presStyleCnt="6">
        <dgm:presLayoutVars>
          <dgm:bulletEnabled val="1"/>
        </dgm:presLayoutVars>
      </dgm:prSet>
      <dgm:spPr/>
    </dgm:pt>
    <dgm:pt modelId="{DB413C85-24DA-9743-8515-BBACEE59A69C}" type="pres">
      <dgm:prSet presAssocID="{8254C925-F1EE-4D48-9AF2-9417FB1F0046}" presName="sibTrans" presStyleCnt="0"/>
      <dgm:spPr/>
    </dgm:pt>
    <dgm:pt modelId="{B98A56B3-77E7-0045-85A8-D64C1EB3749C}" type="pres">
      <dgm:prSet presAssocID="{44FBD7C7-5B64-764C-B761-89D05E7C0EA4}" presName="textNode" presStyleLbl="node1" presStyleIdx="1" presStyleCnt="6">
        <dgm:presLayoutVars>
          <dgm:bulletEnabled val="1"/>
        </dgm:presLayoutVars>
      </dgm:prSet>
      <dgm:spPr/>
    </dgm:pt>
    <dgm:pt modelId="{D669D500-6199-6841-B931-EBFB49F77C24}" type="pres">
      <dgm:prSet presAssocID="{27B78BD5-A12A-044B-984A-CE152EF1D702}" presName="sibTrans" presStyleCnt="0"/>
      <dgm:spPr/>
    </dgm:pt>
    <dgm:pt modelId="{82F02776-1A37-4B40-AF1F-274095A6999D}" type="pres">
      <dgm:prSet presAssocID="{AEA8E7C8-BF5C-A343-B9AE-160C9AA3A8E6}" presName="textNode" presStyleLbl="node1" presStyleIdx="2" presStyleCnt="6">
        <dgm:presLayoutVars>
          <dgm:bulletEnabled val="1"/>
        </dgm:presLayoutVars>
      </dgm:prSet>
      <dgm:spPr/>
    </dgm:pt>
    <dgm:pt modelId="{C2C184A2-7A05-4A41-8EAF-BFFBAC8C514C}" type="pres">
      <dgm:prSet presAssocID="{830FE5F9-BFAB-E64C-811C-B327550FEC7C}" presName="sibTrans" presStyleCnt="0"/>
      <dgm:spPr/>
    </dgm:pt>
    <dgm:pt modelId="{C43BAD94-8EB3-714B-814F-01C7A44D21D8}" type="pres">
      <dgm:prSet presAssocID="{462BF2C6-74B3-164F-9631-D958B474F8A0}" presName="textNode" presStyleLbl="node1" presStyleIdx="3" presStyleCnt="6">
        <dgm:presLayoutVars>
          <dgm:bulletEnabled val="1"/>
        </dgm:presLayoutVars>
      </dgm:prSet>
      <dgm:spPr/>
    </dgm:pt>
    <dgm:pt modelId="{779F1A5B-42A2-534B-8DFD-CD9DB5DD17D4}" type="pres">
      <dgm:prSet presAssocID="{C8E94547-FE5E-7342-9484-E1313A06D53A}" presName="sibTrans" presStyleCnt="0"/>
      <dgm:spPr/>
    </dgm:pt>
    <dgm:pt modelId="{615A2236-6178-BF4D-BDB8-5739A799E18D}" type="pres">
      <dgm:prSet presAssocID="{781BEAE0-E602-AA44-BC5D-B272E48A7429}" presName="textNode" presStyleLbl="node1" presStyleIdx="4" presStyleCnt="6">
        <dgm:presLayoutVars>
          <dgm:bulletEnabled val="1"/>
        </dgm:presLayoutVars>
      </dgm:prSet>
      <dgm:spPr/>
    </dgm:pt>
    <dgm:pt modelId="{F2317180-88CA-284A-B2E4-B5A4C5106728}" type="pres">
      <dgm:prSet presAssocID="{4AC60AE7-D063-1946-9ADE-0F773763D49A}" presName="sibTrans" presStyleCnt="0"/>
      <dgm:spPr/>
    </dgm:pt>
    <dgm:pt modelId="{F1386C93-2A49-C742-A2BB-32118EC8D9C1}" type="pres">
      <dgm:prSet presAssocID="{06622A62-DAE8-3140-87A5-39936846C036}" presName="textNode" presStyleLbl="node1" presStyleIdx="5" presStyleCnt="6">
        <dgm:presLayoutVars>
          <dgm:bulletEnabled val="1"/>
        </dgm:presLayoutVars>
      </dgm:prSet>
      <dgm:spPr/>
    </dgm:pt>
  </dgm:ptLst>
  <dgm:cxnLst>
    <dgm:cxn modelId="{EA9C7D22-F7DD-4E44-B8D2-D0F590CE56FB}" type="presOf" srcId="{06622A62-DAE8-3140-87A5-39936846C036}" destId="{F1386C93-2A49-C742-A2BB-32118EC8D9C1}" srcOrd="0" destOrd="0" presId="urn:microsoft.com/office/officeart/2005/8/layout/hProcess9"/>
    <dgm:cxn modelId="{4F669E24-5441-CC45-8321-2845611F65F9}" srcId="{3D3B27E6-BAF0-C74F-9EE4-AF2ED79CBBC9}" destId="{06622A62-DAE8-3140-87A5-39936846C036}" srcOrd="5" destOrd="0" parTransId="{7DCAA482-FC06-B24E-8703-22C900A7F6B7}" sibTransId="{2F310D48-C444-A940-BDF9-36C0A096C637}"/>
    <dgm:cxn modelId="{7CB5B92B-F56B-134C-98E5-6289366331AA}" type="presOf" srcId="{E5BEEA7D-B71A-374A-8473-72A3776CED01}" destId="{171F35C9-9847-6F42-A508-D68A8ABB34E6}" srcOrd="0" destOrd="0" presId="urn:microsoft.com/office/officeart/2005/8/layout/hProcess9"/>
    <dgm:cxn modelId="{499D8045-9E50-D44B-9C76-3C0AFC35E29E}" srcId="{3D3B27E6-BAF0-C74F-9EE4-AF2ED79CBBC9}" destId="{AEA8E7C8-BF5C-A343-B9AE-160C9AA3A8E6}" srcOrd="2" destOrd="0" parTransId="{523B86CE-6CFA-D946-954B-DD25809286FF}" sibTransId="{830FE5F9-BFAB-E64C-811C-B327550FEC7C}"/>
    <dgm:cxn modelId="{5AE0E547-F1F3-864B-B31C-02D30E9CAC25}" srcId="{3D3B27E6-BAF0-C74F-9EE4-AF2ED79CBBC9}" destId="{E5BEEA7D-B71A-374A-8473-72A3776CED01}" srcOrd="0" destOrd="0" parTransId="{D5104084-7814-5448-8A40-0AF780D6A21C}" sibTransId="{8254C925-F1EE-4D48-9AF2-9417FB1F0046}"/>
    <dgm:cxn modelId="{51C8FC4B-C9D8-CD4F-AFC9-E5053C9D065A}" type="presOf" srcId="{44FBD7C7-5B64-764C-B761-89D05E7C0EA4}" destId="{B98A56B3-77E7-0045-85A8-D64C1EB3749C}" srcOrd="0" destOrd="0" presId="urn:microsoft.com/office/officeart/2005/8/layout/hProcess9"/>
    <dgm:cxn modelId="{BAF64E56-2DBC-EA40-9597-ADC6EB956732}" type="presOf" srcId="{781BEAE0-E602-AA44-BC5D-B272E48A7429}" destId="{615A2236-6178-BF4D-BDB8-5739A799E18D}" srcOrd="0" destOrd="0" presId="urn:microsoft.com/office/officeart/2005/8/layout/hProcess9"/>
    <dgm:cxn modelId="{67778F56-A748-1548-BC1C-4409415308FA}" type="presOf" srcId="{462BF2C6-74B3-164F-9631-D958B474F8A0}" destId="{C43BAD94-8EB3-714B-814F-01C7A44D21D8}" srcOrd="0" destOrd="0" presId="urn:microsoft.com/office/officeart/2005/8/layout/hProcess9"/>
    <dgm:cxn modelId="{D060E27F-4DAE-5044-B1B1-8163351D9213}" srcId="{3D3B27E6-BAF0-C74F-9EE4-AF2ED79CBBC9}" destId="{781BEAE0-E602-AA44-BC5D-B272E48A7429}" srcOrd="4" destOrd="0" parTransId="{BD4978C9-64E8-F343-979D-215FAF9AF3F2}" sibTransId="{4AC60AE7-D063-1946-9ADE-0F773763D49A}"/>
    <dgm:cxn modelId="{3F634F82-158D-5C48-BC2B-A4F91D49DB32}" type="presOf" srcId="{AEA8E7C8-BF5C-A343-B9AE-160C9AA3A8E6}" destId="{82F02776-1A37-4B40-AF1F-274095A6999D}" srcOrd="0" destOrd="0" presId="urn:microsoft.com/office/officeart/2005/8/layout/hProcess9"/>
    <dgm:cxn modelId="{87D74591-051A-C24A-9D30-EEC32595C654}" type="presOf" srcId="{3D3B27E6-BAF0-C74F-9EE4-AF2ED79CBBC9}" destId="{5348D061-19EB-274F-AB76-3CD47B5FF5A7}" srcOrd="0" destOrd="0" presId="urn:microsoft.com/office/officeart/2005/8/layout/hProcess9"/>
    <dgm:cxn modelId="{16C7F0C1-46D9-CB4B-A266-ED00FFE6594A}" srcId="{3D3B27E6-BAF0-C74F-9EE4-AF2ED79CBBC9}" destId="{462BF2C6-74B3-164F-9631-D958B474F8A0}" srcOrd="3" destOrd="0" parTransId="{645FDE21-8325-2B47-9565-55A406C15B3B}" sibTransId="{C8E94547-FE5E-7342-9484-E1313A06D53A}"/>
    <dgm:cxn modelId="{A390ECC4-A463-F942-BA57-E8C4B84D00E4}" srcId="{3D3B27E6-BAF0-C74F-9EE4-AF2ED79CBBC9}" destId="{44FBD7C7-5B64-764C-B761-89D05E7C0EA4}" srcOrd="1" destOrd="0" parTransId="{63AC44AD-F345-1E40-924D-669D153DACAF}" sibTransId="{27B78BD5-A12A-044B-984A-CE152EF1D702}"/>
    <dgm:cxn modelId="{20B29AF6-AA5B-884E-ABBC-64885725BBF1}" type="presParOf" srcId="{5348D061-19EB-274F-AB76-3CD47B5FF5A7}" destId="{1E8C46E5-C2EF-3E48-8075-D685A02C71CF}" srcOrd="0" destOrd="0" presId="urn:microsoft.com/office/officeart/2005/8/layout/hProcess9"/>
    <dgm:cxn modelId="{74761C96-4795-9C48-8DD0-E7E84325F36A}" type="presParOf" srcId="{5348D061-19EB-274F-AB76-3CD47B5FF5A7}" destId="{EA0704F3-A346-9843-9DBE-012A96389FB6}" srcOrd="1" destOrd="0" presId="urn:microsoft.com/office/officeart/2005/8/layout/hProcess9"/>
    <dgm:cxn modelId="{BE75B390-DF9F-194F-83E6-A9D0AC888166}" type="presParOf" srcId="{EA0704F3-A346-9843-9DBE-012A96389FB6}" destId="{171F35C9-9847-6F42-A508-D68A8ABB34E6}" srcOrd="0" destOrd="0" presId="urn:microsoft.com/office/officeart/2005/8/layout/hProcess9"/>
    <dgm:cxn modelId="{E3C4CCBB-3657-D44F-954A-709CB0890643}" type="presParOf" srcId="{EA0704F3-A346-9843-9DBE-012A96389FB6}" destId="{DB413C85-24DA-9743-8515-BBACEE59A69C}" srcOrd="1" destOrd="0" presId="urn:microsoft.com/office/officeart/2005/8/layout/hProcess9"/>
    <dgm:cxn modelId="{DE5FF7AF-756B-754B-87F2-17A94935E5BC}" type="presParOf" srcId="{EA0704F3-A346-9843-9DBE-012A96389FB6}" destId="{B98A56B3-77E7-0045-85A8-D64C1EB3749C}" srcOrd="2" destOrd="0" presId="urn:microsoft.com/office/officeart/2005/8/layout/hProcess9"/>
    <dgm:cxn modelId="{03AE49C2-7121-594D-9B76-F6F64C6A983F}" type="presParOf" srcId="{EA0704F3-A346-9843-9DBE-012A96389FB6}" destId="{D669D500-6199-6841-B931-EBFB49F77C24}" srcOrd="3" destOrd="0" presId="urn:microsoft.com/office/officeart/2005/8/layout/hProcess9"/>
    <dgm:cxn modelId="{24918DCA-ED05-324E-B466-FFA68DCBF991}" type="presParOf" srcId="{EA0704F3-A346-9843-9DBE-012A96389FB6}" destId="{82F02776-1A37-4B40-AF1F-274095A6999D}" srcOrd="4" destOrd="0" presId="urn:microsoft.com/office/officeart/2005/8/layout/hProcess9"/>
    <dgm:cxn modelId="{0C7086CF-6F77-634B-B84D-EB7DE8D2B8F7}" type="presParOf" srcId="{EA0704F3-A346-9843-9DBE-012A96389FB6}" destId="{C2C184A2-7A05-4A41-8EAF-BFFBAC8C514C}" srcOrd="5" destOrd="0" presId="urn:microsoft.com/office/officeart/2005/8/layout/hProcess9"/>
    <dgm:cxn modelId="{17F40EA3-1649-A14D-B03A-A13936492841}" type="presParOf" srcId="{EA0704F3-A346-9843-9DBE-012A96389FB6}" destId="{C43BAD94-8EB3-714B-814F-01C7A44D21D8}" srcOrd="6" destOrd="0" presId="urn:microsoft.com/office/officeart/2005/8/layout/hProcess9"/>
    <dgm:cxn modelId="{E58E7FEA-3C30-5F44-BF32-C5B395FA485D}" type="presParOf" srcId="{EA0704F3-A346-9843-9DBE-012A96389FB6}" destId="{779F1A5B-42A2-534B-8DFD-CD9DB5DD17D4}" srcOrd="7" destOrd="0" presId="urn:microsoft.com/office/officeart/2005/8/layout/hProcess9"/>
    <dgm:cxn modelId="{2A765F3F-9555-154B-999D-9131407F2AC9}" type="presParOf" srcId="{EA0704F3-A346-9843-9DBE-012A96389FB6}" destId="{615A2236-6178-BF4D-BDB8-5739A799E18D}" srcOrd="8" destOrd="0" presId="urn:microsoft.com/office/officeart/2005/8/layout/hProcess9"/>
    <dgm:cxn modelId="{01D1928D-58EE-B445-81F7-1C21D9CDB647}" type="presParOf" srcId="{EA0704F3-A346-9843-9DBE-012A96389FB6}" destId="{F2317180-88CA-284A-B2E4-B5A4C5106728}" srcOrd="9" destOrd="0" presId="urn:microsoft.com/office/officeart/2005/8/layout/hProcess9"/>
    <dgm:cxn modelId="{50BA831D-F8AF-8942-8707-19E2FC5B60D8}" type="presParOf" srcId="{EA0704F3-A346-9843-9DBE-012A96389FB6}" destId="{F1386C93-2A49-C742-A2BB-32118EC8D9C1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702B5BC-271E-4A4B-865B-F12AFE029F4D}" type="doc">
      <dgm:prSet loTypeId="urn:microsoft.com/office/officeart/2005/8/layout/hProcess9" loCatId="" qsTypeId="urn:microsoft.com/office/officeart/2005/8/quickstyle/simple1" qsCatId="simple" csTypeId="urn:microsoft.com/office/officeart/2005/8/colors/colorful2" csCatId="colorful" phldr="1"/>
      <dgm:spPr/>
    </dgm:pt>
    <dgm:pt modelId="{57BD648B-3475-1143-B00D-91C374D1B39A}">
      <dgm:prSet phldrT="[Text]"/>
      <dgm:spPr/>
      <dgm:t>
        <a:bodyPr/>
        <a:lstStyle/>
        <a:p>
          <a:r>
            <a:rPr lang="en-US" dirty="0">
              <a:latin typeface="+mn-lt"/>
            </a:rPr>
            <a:t>Completed Minor Change</a:t>
          </a:r>
        </a:p>
      </dgm:t>
    </dgm:pt>
    <dgm:pt modelId="{122260E6-B870-EB47-91F8-A93CDAC5DEA3}" type="parTrans" cxnId="{F597956E-230A-8B4A-97FA-2CCD9607B5F0}">
      <dgm:prSet/>
      <dgm:spPr/>
      <dgm:t>
        <a:bodyPr/>
        <a:lstStyle/>
        <a:p>
          <a:endParaRPr lang="en-US"/>
        </a:p>
      </dgm:t>
    </dgm:pt>
    <dgm:pt modelId="{5B93728F-4C07-7347-9AFF-0188DECACEB2}" type="sibTrans" cxnId="{F597956E-230A-8B4A-97FA-2CCD9607B5F0}">
      <dgm:prSet/>
      <dgm:spPr/>
      <dgm:t>
        <a:bodyPr/>
        <a:lstStyle/>
        <a:p>
          <a:endParaRPr lang="en-US"/>
        </a:p>
      </dgm:t>
    </dgm:pt>
    <dgm:pt modelId="{53799479-4C0D-F24B-BC02-B7433F8D5D91}">
      <dgm:prSet phldrT="[Text]"/>
      <dgm:spPr/>
      <dgm:t>
        <a:bodyPr/>
        <a:lstStyle/>
        <a:p>
          <a:r>
            <a:rPr lang="en-US" dirty="0">
              <a:latin typeface="+mn-lt"/>
            </a:rPr>
            <a:t>Request</a:t>
          </a:r>
        </a:p>
      </dgm:t>
    </dgm:pt>
    <dgm:pt modelId="{1958830B-9647-424E-98C3-EF1B6DD0D3EC}" type="parTrans" cxnId="{52726100-2DF4-1449-B86D-A666B4BA84E0}">
      <dgm:prSet/>
      <dgm:spPr/>
      <dgm:t>
        <a:bodyPr/>
        <a:lstStyle/>
        <a:p>
          <a:endParaRPr lang="en-US"/>
        </a:p>
      </dgm:t>
    </dgm:pt>
    <dgm:pt modelId="{C74842DB-5E5B-8641-980B-B3836AFB2387}" type="sibTrans" cxnId="{52726100-2DF4-1449-B86D-A666B4BA84E0}">
      <dgm:prSet/>
      <dgm:spPr/>
      <dgm:t>
        <a:bodyPr/>
        <a:lstStyle/>
        <a:p>
          <a:endParaRPr lang="en-US"/>
        </a:p>
      </dgm:t>
    </dgm:pt>
    <dgm:pt modelId="{6F2E4986-1767-D74F-870C-85CDB95C045D}">
      <dgm:prSet phldrT="[Text]"/>
      <dgm:spPr/>
      <dgm:t>
        <a:bodyPr/>
        <a:lstStyle/>
        <a:p>
          <a:r>
            <a:rPr lang="en-US" dirty="0">
              <a:latin typeface="+mn-lt"/>
            </a:rPr>
            <a:t>Approval</a:t>
          </a:r>
        </a:p>
      </dgm:t>
    </dgm:pt>
    <dgm:pt modelId="{512C25AC-D1BC-1842-9F72-C99B10310EE0}" type="parTrans" cxnId="{329D9E4C-A40A-5E49-B0EE-D1C8E8A22402}">
      <dgm:prSet/>
      <dgm:spPr/>
      <dgm:t>
        <a:bodyPr/>
        <a:lstStyle/>
        <a:p>
          <a:endParaRPr lang="en-US"/>
        </a:p>
      </dgm:t>
    </dgm:pt>
    <dgm:pt modelId="{6420CB4E-06FE-B84C-A711-E9F5A79DF0B4}" type="sibTrans" cxnId="{329D9E4C-A40A-5E49-B0EE-D1C8E8A22402}">
      <dgm:prSet/>
      <dgm:spPr/>
      <dgm:t>
        <a:bodyPr/>
        <a:lstStyle/>
        <a:p>
          <a:endParaRPr lang="en-US"/>
        </a:p>
      </dgm:t>
    </dgm:pt>
    <dgm:pt modelId="{BB992AFA-64C2-0349-99D2-23ADE7359322}" type="pres">
      <dgm:prSet presAssocID="{C702B5BC-271E-4A4B-865B-F12AFE029F4D}" presName="CompostProcess" presStyleCnt="0">
        <dgm:presLayoutVars>
          <dgm:dir/>
          <dgm:resizeHandles val="exact"/>
        </dgm:presLayoutVars>
      </dgm:prSet>
      <dgm:spPr/>
    </dgm:pt>
    <dgm:pt modelId="{C50D9BEE-FE10-B741-B687-4E4790F3127D}" type="pres">
      <dgm:prSet presAssocID="{C702B5BC-271E-4A4B-865B-F12AFE029F4D}" presName="arrow" presStyleLbl="bgShp" presStyleIdx="0" presStyleCnt="1"/>
      <dgm:spPr/>
    </dgm:pt>
    <dgm:pt modelId="{6CB0C68C-9D28-494F-90DC-88FED56136A1}" type="pres">
      <dgm:prSet presAssocID="{C702B5BC-271E-4A4B-865B-F12AFE029F4D}" presName="linearProcess" presStyleCnt="0"/>
      <dgm:spPr/>
    </dgm:pt>
    <dgm:pt modelId="{28415BB3-6DBF-E74B-9BD2-C61218ABF726}" type="pres">
      <dgm:prSet presAssocID="{57BD648B-3475-1143-B00D-91C374D1B39A}" presName="textNode" presStyleLbl="node1" presStyleIdx="0" presStyleCnt="3">
        <dgm:presLayoutVars>
          <dgm:bulletEnabled val="1"/>
        </dgm:presLayoutVars>
      </dgm:prSet>
      <dgm:spPr/>
    </dgm:pt>
    <dgm:pt modelId="{85066AD9-3577-4941-9A8A-E3DF1404113E}" type="pres">
      <dgm:prSet presAssocID="{5B93728F-4C07-7347-9AFF-0188DECACEB2}" presName="sibTrans" presStyleCnt="0"/>
      <dgm:spPr/>
    </dgm:pt>
    <dgm:pt modelId="{D4F2BD24-1679-D944-9011-D04D9DCD70D4}" type="pres">
      <dgm:prSet presAssocID="{53799479-4C0D-F24B-BC02-B7433F8D5D91}" presName="textNode" presStyleLbl="node1" presStyleIdx="1" presStyleCnt="3">
        <dgm:presLayoutVars>
          <dgm:bulletEnabled val="1"/>
        </dgm:presLayoutVars>
      </dgm:prSet>
      <dgm:spPr/>
    </dgm:pt>
    <dgm:pt modelId="{3EE6029D-1BC5-7D43-9264-0A5CD4690C03}" type="pres">
      <dgm:prSet presAssocID="{C74842DB-5E5B-8641-980B-B3836AFB2387}" presName="sibTrans" presStyleCnt="0"/>
      <dgm:spPr/>
    </dgm:pt>
    <dgm:pt modelId="{11954051-9E0E-2848-825C-8A11FF39BCEB}" type="pres">
      <dgm:prSet presAssocID="{6F2E4986-1767-D74F-870C-85CDB95C045D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52726100-2DF4-1449-B86D-A666B4BA84E0}" srcId="{C702B5BC-271E-4A4B-865B-F12AFE029F4D}" destId="{53799479-4C0D-F24B-BC02-B7433F8D5D91}" srcOrd="1" destOrd="0" parTransId="{1958830B-9647-424E-98C3-EF1B6DD0D3EC}" sibTransId="{C74842DB-5E5B-8641-980B-B3836AFB2387}"/>
    <dgm:cxn modelId="{F9BF492C-37A6-344D-8FC1-144ECBC6061A}" type="presOf" srcId="{53799479-4C0D-F24B-BC02-B7433F8D5D91}" destId="{D4F2BD24-1679-D944-9011-D04D9DCD70D4}" srcOrd="0" destOrd="0" presId="urn:microsoft.com/office/officeart/2005/8/layout/hProcess9"/>
    <dgm:cxn modelId="{03E0A45C-3DC8-D048-9BD9-3204E680C38B}" type="presOf" srcId="{6F2E4986-1767-D74F-870C-85CDB95C045D}" destId="{11954051-9E0E-2848-825C-8A11FF39BCEB}" srcOrd="0" destOrd="0" presId="urn:microsoft.com/office/officeart/2005/8/layout/hProcess9"/>
    <dgm:cxn modelId="{329D9E4C-A40A-5E49-B0EE-D1C8E8A22402}" srcId="{C702B5BC-271E-4A4B-865B-F12AFE029F4D}" destId="{6F2E4986-1767-D74F-870C-85CDB95C045D}" srcOrd="2" destOrd="0" parTransId="{512C25AC-D1BC-1842-9F72-C99B10310EE0}" sibTransId="{6420CB4E-06FE-B84C-A711-E9F5A79DF0B4}"/>
    <dgm:cxn modelId="{F597956E-230A-8B4A-97FA-2CCD9607B5F0}" srcId="{C702B5BC-271E-4A4B-865B-F12AFE029F4D}" destId="{57BD648B-3475-1143-B00D-91C374D1B39A}" srcOrd="0" destOrd="0" parTransId="{122260E6-B870-EB47-91F8-A93CDAC5DEA3}" sibTransId="{5B93728F-4C07-7347-9AFF-0188DECACEB2}"/>
    <dgm:cxn modelId="{56F19DBF-E5C4-B64D-9BC4-F8A3FE0A05CD}" type="presOf" srcId="{57BD648B-3475-1143-B00D-91C374D1B39A}" destId="{28415BB3-6DBF-E74B-9BD2-C61218ABF726}" srcOrd="0" destOrd="0" presId="urn:microsoft.com/office/officeart/2005/8/layout/hProcess9"/>
    <dgm:cxn modelId="{95BAEAF7-DC76-EF44-B50D-059B1FF68CE3}" type="presOf" srcId="{C702B5BC-271E-4A4B-865B-F12AFE029F4D}" destId="{BB992AFA-64C2-0349-99D2-23ADE7359322}" srcOrd="0" destOrd="0" presId="urn:microsoft.com/office/officeart/2005/8/layout/hProcess9"/>
    <dgm:cxn modelId="{5A1A7A29-1C93-144B-B17A-05536D589FE9}" type="presParOf" srcId="{BB992AFA-64C2-0349-99D2-23ADE7359322}" destId="{C50D9BEE-FE10-B741-B687-4E4790F3127D}" srcOrd="0" destOrd="0" presId="urn:microsoft.com/office/officeart/2005/8/layout/hProcess9"/>
    <dgm:cxn modelId="{8E76CD55-64CE-EC40-81F5-530E31D019F5}" type="presParOf" srcId="{BB992AFA-64C2-0349-99D2-23ADE7359322}" destId="{6CB0C68C-9D28-494F-90DC-88FED56136A1}" srcOrd="1" destOrd="0" presId="urn:microsoft.com/office/officeart/2005/8/layout/hProcess9"/>
    <dgm:cxn modelId="{9DD6CEB7-38AE-6A47-9761-227364FEC728}" type="presParOf" srcId="{6CB0C68C-9D28-494F-90DC-88FED56136A1}" destId="{28415BB3-6DBF-E74B-9BD2-C61218ABF726}" srcOrd="0" destOrd="0" presId="urn:microsoft.com/office/officeart/2005/8/layout/hProcess9"/>
    <dgm:cxn modelId="{1EED51DE-5A69-8145-8D54-9B01B1600978}" type="presParOf" srcId="{6CB0C68C-9D28-494F-90DC-88FED56136A1}" destId="{85066AD9-3577-4941-9A8A-E3DF1404113E}" srcOrd="1" destOrd="0" presId="urn:microsoft.com/office/officeart/2005/8/layout/hProcess9"/>
    <dgm:cxn modelId="{1918CD5D-B2DF-6848-9E51-1A3AFDED80C2}" type="presParOf" srcId="{6CB0C68C-9D28-494F-90DC-88FED56136A1}" destId="{D4F2BD24-1679-D944-9011-D04D9DCD70D4}" srcOrd="2" destOrd="0" presId="urn:microsoft.com/office/officeart/2005/8/layout/hProcess9"/>
    <dgm:cxn modelId="{18E22E06-20BF-724A-8DBE-3EE98AFA3EEC}" type="presParOf" srcId="{6CB0C68C-9D28-494F-90DC-88FED56136A1}" destId="{3EE6029D-1BC5-7D43-9264-0A5CD4690C03}" srcOrd="3" destOrd="0" presId="urn:microsoft.com/office/officeart/2005/8/layout/hProcess9"/>
    <dgm:cxn modelId="{95783914-E323-6045-904C-304885A7CCB2}" type="presParOf" srcId="{6CB0C68C-9D28-494F-90DC-88FED56136A1}" destId="{11954051-9E0E-2848-825C-8A11FF39BCEB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EA769E-69FF-4A5A-AE71-A561FC3740C8}">
      <dsp:nvSpPr>
        <dsp:cNvPr id="0" name=""/>
        <dsp:cNvSpPr/>
      </dsp:nvSpPr>
      <dsp:spPr>
        <a:xfrm>
          <a:off x="-4547637" y="-697308"/>
          <a:ext cx="5417342" cy="5417342"/>
        </a:xfrm>
        <a:prstGeom prst="blockArc">
          <a:avLst>
            <a:gd name="adj1" fmla="val 18900000"/>
            <a:gd name="adj2" fmla="val 2700000"/>
            <a:gd name="adj3" fmla="val 399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56C0A3-D212-684C-9155-07F35ECEB5A2}">
      <dsp:nvSpPr>
        <dsp:cNvPr id="0" name=""/>
        <dsp:cNvSpPr/>
      </dsp:nvSpPr>
      <dsp:spPr>
        <a:xfrm>
          <a:off x="324808" y="211836"/>
          <a:ext cx="6985553" cy="4235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616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latin typeface="+mn-lt"/>
            </a:rPr>
            <a:t>Benefits of Change Management</a:t>
          </a:r>
        </a:p>
      </dsp:txBody>
      <dsp:txXfrm>
        <a:off x="324808" y="211836"/>
        <a:ext cx="6985553" cy="423512"/>
      </dsp:txXfrm>
    </dsp:sp>
    <dsp:sp modelId="{58C82E76-2691-3040-8CA3-1079A8C614E7}">
      <dsp:nvSpPr>
        <dsp:cNvPr id="0" name=""/>
        <dsp:cNvSpPr/>
      </dsp:nvSpPr>
      <dsp:spPr>
        <a:xfrm>
          <a:off x="60112" y="158897"/>
          <a:ext cx="529390" cy="5293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0B8497-61EE-C144-99DE-87ACF1DD33A1}">
      <dsp:nvSpPr>
        <dsp:cNvPr id="0" name=""/>
        <dsp:cNvSpPr/>
      </dsp:nvSpPr>
      <dsp:spPr>
        <a:xfrm>
          <a:off x="673176" y="847024"/>
          <a:ext cx="6637185" cy="4235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616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latin typeface="+mn-lt"/>
            </a:rPr>
            <a:t>What is a Change?</a:t>
          </a:r>
        </a:p>
      </dsp:txBody>
      <dsp:txXfrm>
        <a:off x="673176" y="847024"/>
        <a:ext cx="6637185" cy="423512"/>
      </dsp:txXfrm>
    </dsp:sp>
    <dsp:sp modelId="{0C06D8CC-3302-4FFA-9951-B2ADEE7BFBA2}">
      <dsp:nvSpPr>
        <dsp:cNvPr id="0" name=""/>
        <dsp:cNvSpPr/>
      </dsp:nvSpPr>
      <dsp:spPr>
        <a:xfrm>
          <a:off x="408480" y="794085"/>
          <a:ext cx="529390" cy="5293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351B6E-9C19-9A4A-B153-45E541F19778}">
      <dsp:nvSpPr>
        <dsp:cNvPr id="0" name=""/>
        <dsp:cNvSpPr/>
      </dsp:nvSpPr>
      <dsp:spPr>
        <a:xfrm>
          <a:off x="832476" y="1482213"/>
          <a:ext cx="6477885" cy="4235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616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latin typeface="+mn-lt"/>
            </a:rPr>
            <a:t>What is Change Management?</a:t>
          </a:r>
        </a:p>
      </dsp:txBody>
      <dsp:txXfrm>
        <a:off x="832476" y="1482213"/>
        <a:ext cx="6477885" cy="423512"/>
      </dsp:txXfrm>
    </dsp:sp>
    <dsp:sp modelId="{AF8F3925-D24C-43A6-AE99-B728C956E8AA}">
      <dsp:nvSpPr>
        <dsp:cNvPr id="0" name=""/>
        <dsp:cNvSpPr/>
      </dsp:nvSpPr>
      <dsp:spPr>
        <a:xfrm>
          <a:off x="567780" y="1429274"/>
          <a:ext cx="529390" cy="5293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60BCAC-52AD-40FD-913A-D1B6C5B378BD}">
      <dsp:nvSpPr>
        <dsp:cNvPr id="0" name=""/>
        <dsp:cNvSpPr/>
      </dsp:nvSpPr>
      <dsp:spPr>
        <a:xfrm>
          <a:off x="832476" y="2116999"/>
          <a:ext cx="6477885" cy="4235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616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latin typeface="+mn-lt"/>
            </a:rPr>
            <a:t>Process Overview</a:t>
          </a:r>
        </a:p>
      </dsp:txBody>
      <dsp:txXfrm>
        <a:off x="832476" y="2116999"/>
        <a:ext cx="6477885" cy="423512"/>
      </dsp:txXfrm>
    </dsp:sp>
    <dsp:sp modelId="{E9EC15FF-C920-4AB9-B351-227011D9F38C}">
      <dsp:nvSpPr>
        <dsp:cNvPr id="0" name=""/>
        <dsp:cNvSpPr/>
      </dsp:nvSpPr>
      <dsp:spPr>
        <a:xfrm>
          <a:off x="567780" y="2064060"/>
          <a:ext cx="529390" cy="5293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25AFBB-83CC-4A90-8BBE-7070218D6B09}">
      <dsp:nvSpPr>
        <dsp:cNvPr id="0" name=""/>
        <dsp:cNvSpPr/>
      </dsp:nvSpPr>
      <dsp:spPr>
        <a:xfrm>
          <a:off x="673176" y="2752187"/>
          <a:ext cx="6637185" cy="4235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616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latin typeface="+mn-lt"/>
            </a:rPr>
            <a:t>What is a Change Freeze?</a:t>
          </a:r>
        </a:p>
      </dsp:txBody>
      <dsp:txXfrm>
        <a:off x="673176" y="2752187"/>
        <a:ext cx="6637185" cy="423512"/>
      </dsp:txXfrm>
    </dsp:sp>
    <dsp:sp modelId="{0E63C1DF-E44B-49B5-8967-E9D1C32E9EC3}">
      <dsp:nvSpPr>
        <dsp:cNvPr id="0" name=""/>
        <dsp:cNvSpPr/>
      </dsp:nvSpPr>
      <dsp:spPr>
        <a:xfrm>
          <a:off x="408480" y="2699248"/>
          <a:ext cx="529390" cy="5293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1DAC72-7C32-414D-8D29-CE433C832E9F}">
      <dsp:nvSpPr>
        <dsp:cNvPr id="0" name=""/>
        <dsp:cNvSpPr/>
      </dsp:nvSpPr>
      <dsp:spPr>
        <a:xfrm>
          <a:off x="324808" y="3387375"/>
          <a:ext cx="6985553" cy="4235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616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bg1"/>
              </a:solidFill>
              <a:latin typeface="+mn-lt"/>
            </a:rPr>
            <a:t>Questions?</a:t>
          </a:r>
        </a:p>
      </dsp:txBody>
      <dsp:txXfrm>
        <a:off x="324808" y="3387375"/>
        <a:ext cx="6985553" cy="423512"/>
      </dsp:txXfrm>
    </dsp:sp>
    <dsp:sp modelId="{68EAA167-34AA-4E57-AB85-A080095FC5E1}">
      <dsp:nvSpPr>
        <dsp:cNvPr id="0" name=""/>
        <dsp:cNvSpPr/>
      </dsp:nvSpPr>
      <dsp:spPr>
        <a:xfrm>
          <a:off x="60112" y="3334436"/>
          <a:ext cx="529390" cy="5293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E30573-BA16-3543-A94E-1BA3CF810783}">
      <dsp:nvSpPr>
        <dsp:cNvPr id="0" name=""/>
        <dsp:cNvSpPr/>
      </dsp:nvSpPr>
      <dsp:spPr>
        <a:xfrm>
          <a:off x="754379" y="0"/>
          <a:ext cx="8549640" cy="2208737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3EEA1C-53C8-CF4E-A54B-50D1DD1F6EF1}">
      <dsp:nvSpPr>
        <dsp:cNvPr id="0" name=""/>
        <dsp:cNvSpPr/>
      </dsp:nvSpPr>
      <dsp:spPr>
        <a:xfrm>
          <a:off x="1100137" y="662621"/>
          <a:ext cx="3677602" cy="883494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>
              <a:latin typeface="+mn-lt"/>
            </a:rPr>
            <a:t>Complete Template</a:t>
          </a:r>
        </a:p>
      </dsp:txBody>
      <dsp:txXfrm>
        <a:off x="1143266" y="705750"/>
        <a:ext cx="3591344" cy="797236"/>
      </dsp:txXfrm>
    </dsp:sp>
    <dsp:sp modelId="{DCBCBF22-213A-AF4F-BCCC-09BD00A0C9AD}">
      <dsp:nvSpPr>
        <dsp:cNvPr id="0" name=""/>
        <dsp:cNvSpPr/>
      </dsp:nvSpPr>
      <dsp:spPr>
        <a:xfrm>
          <a:off x="5280660" y="662621"/>
          <a:ext cx="3677602" cy="883494"/>
        </a:xfrm>
        <a:prstGeom prst="roundRect">
          <a:avLst/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>
              <a:latin typeface="+mn-lt"/>
            </a:rPr>
            <a:t>Implement</a:t>
          </a:r>
        </a:p>
      </dsp:txBody>
      <dsp:txXfrm>
        <a:off x="5323789" y="705750"/>
        <a:ext cx="3591344" cy="79723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FBDABD-4CA3-F047-85DA-7929B66B7048}">
      <dsp:nvSpPr>
        <dsp:cNvPr id="0" name=""/>
        <dsp:cNvSpPr/>
      </dsp:nvSpPr>
      <dsp:spPr>
        <a:xfrm>
          <a:off x="1330" y="0"/>
          <a:ext cx="3460408" cy="4022725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Changes of the Day</a:t>
          </a:r>
        </a:p>
        <a:p>
          <a:pPr marL="0" lvl="0" indent="0" algn="ctr" defTabSz="977900">
            <a:lnSpc>
              <a:spcPct val="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(COD)</a:t>
          </a:r>
        </a:p>
      </dsp:txBody>
      <dsp:txXfrm>
        <a:off x="1330" y="0"/>
        <a:ext cx="3460408" cy="1206817"/>
      </dsp:txXfrm>
    </dsp:sp>
    <dsp:sp modelId="{CE354BA4-6020-D24F-9821-4E909E50329A}">
      <dsp:nvSpPr>
        <dsp:cNvPr id="0" name=""/>
        <dsp:cNvSpPr/>
      </dsp:nvSpPr>
      <dsp:spPr>
        <a:xfrm>
          <a:off x="347371" y="1207161"/>
          <a:ext cx="2768327" cy="79030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j-lt"/>
            </a:rPr>
            <a:t>Daily M-F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j-lt"/>
            </a:rPr>
            <a:t>7:45 AM</a:t>
          </a:r>
        </a:p>
      </dsp:txBody>
      <dsp:txXfrm>
        <a:off x="370518" y="1230308"/>
        <a:ext cx="2722033" cy="744010"/>
      </dsp:txXfrm>
    </dsp:sp>
    <dsp:sp modelId="{35BC85DE-DE74-5945-93B9-C225187E5C40}">
      <dsp:nvSpPr>
        <dsp:cNvPr id="0" name=""/>
        <dsp:cNvSpPr/>
      </dsp:nvSpPr>
      <dsp:spPr>
        <a:xfrm>
          <a:off x="347371" y="2119050"/>
          <a:ext cx="2768327" cy="790304"/>
        </a:xfrm>
        <a:prstGeom prst="roundRect">
          <a:avLst>
            <a:gd name="adj" fmla="val 10000"/>
          </a:avLst>
        </a:prstGeom>
        <a:solidFill>
          <a:schemeClr val="accent2">
            <a:hueOff val="-116730"/>
            <a:satOff val="0"/>
            <a:lumOff val="17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j-lt"/>
            </a:rPr>
            <a:t>Last 24 Hours (Major Incidents)</a:t>
          </a:r>
        </a:p>
      </dsp:txBody>
      <dsp:txXfrm>
        <a:off x="370518" y="2142197"/>
        <a:ext cx="2722033" cy="744010"/>
      </dsp:txXfrm>
    </dsp:sp>
    <dsp:sp modelId="{4DDF9B2C-9FE7-EA44-BA19-7CD4680AB339}">
      <dsp:nvSpPr>
        <dsp:cNvPr id="0" name=""/>
        <dsp:cNvSpPr/>
      </dsp:nvSpPr>
      <dsp:spPr>
        <a:xfrm>
          <a:off x="347371" y="3030940"/>
          <a:ext cx="2768327" cy="790304"/>
        </a:xfrm>
        <a:prstGeom prst="roundRect">
          <a:avLst>
            <a:gd name="adj" fmla="val 10000"/>
          </a:avLst>
        </a:prstGeom>
        <a:solidFill>
          <a:schemeClr val="accent2">
            <a:hueOff val="-233459"/>
            <a:satOff val="0"/>
            <a:lumOff val="359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Georgia" panose="02040502050405020303" pitchFamily="18" charset="0"/>
            </a:rPr>
            <a:t>Next 24 Hours (Significant &amp; Major Changes)</a:t>
          </a:r>
        </a:p>
      </dsp:txBody>
      <dsp:txXfrm>
        <a:off x="370518" y="3054087"/>
        <a:ext cx="2722033" cy="744010"/>
      </dsp:txXfrm>
    </dsp:sp>
    <dsp:sp modelId="{67A75D55-F62C-5B44-BF02-8F96A5E30B4D}">
      <dsp:nvSpPr>
        <dsp:cNvPr id="0" name=""/>
        <dsp:cNvSpPr/>
      </dsp:nvSpPr>
      <dsp:spPr>
        <a:xfrm>
          <a:off x="3721270" y="0"/>
          <a:ext cx="3460408" cy="4022725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Change</a:t>
          </a:r>
        </a:p>
        <a:p>
          <a:pPr marL="0" lvl="0" indent="0" algn="ctr" defTabSz="977900">
            <a:lnSpc>
              <a:spcPct val="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Control Board</a:t>
          </a:r>
        </a:p>
        <a:p>
          <a:pPr marL="0" lvl="0" indent="0" algn="ctr" defTabSz="977900">
            <a:lnSpc>
              <a:spcPct val="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(CCB)</a:t>
          </a:r>
        </a:p>
      </dsp:txBody>
      <dsp:txXfrm>
        <a:off x="3721270" y="0"/>
        <a:ext cx="3460408" cy="1206817"/>
      </dsp:txXfrm>
    </dsp:sp>
    <dsp:sp modelId="{1DBB65EB-9652-4646-97A8-2E069BE478F0}">
      <dsp:nvSpPr>
        <dsp:cNvPr id="0" name=""/>
        <dsp:cNvSpPr/>
      </dsp:nvSpPr>
      <dsp:spPr>
        <a:xfrm>
          <a:off x="4067311" y="1207996"/>
          <a:ext cx="2768327" cy="1212906"/>
        </a:xfrm>
        <a:prstGeom prst="roundRect">
          <a:avLst>
            <a:gd name="adj" fmla="val 10000"/>
          </a:avLst>
        </a:prstGeom>
        <a:solidFill>
          <a:schemeClr val="accent2">
            <a:hueOff val="-350189"/>
            <a:satOff val="0"/>
            <a:lumOff val="53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j-lt"/>
            </a:rPr>
            <a:t>Weekly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j-lt"/>
            </a:rPr>
            <a:t>Wed 3:00 PM</a:t>
          </a:r>
        </a:p>
      </dsp:txBody>
      <dsp:txXfrm>
        <a:off x="4102836" y="1243521"/>
        <a:ext cx="2697277" cy="1141856"/>
      </dsp:txXfrm>
    </dsp:sp>
    <dsp:sp modelId="{E5503698-02DF-4B3E-A893-7B1230F9122C}">
      <dsp:nvSpPr>
        <dsp:cNvPr id="0" name=""/>
        <dsp:cNvSpPr/>
      </dsp:nvSpPr>
      <dsp:spPr>
        <a:xfrm>
          <a:off x="4067311" y="2607503"/>
          <a:ext cx="2768327" cy="1212906"/>
        </a:xfrm>
        <a:prstGeom prst="roundRect">
          <a:avLst>
            <a:gd name="adj" fmla="val 10000"/>
          </a:avLst>
        </a:prstGeom>
        <a:solidFill>
          <a:schemeClr val="accent2">
            <a:hueOff val="-466919"/>
            <a:satOff val="0"/>
            <a:lumOff val="71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Georgia" panose="02040502050405020303" pitchFamily="18" charset="0"/>
            </a:rPr>
            <a:t>Next 7 Days Significant &amp; Major Changes</a:t>
          </a:r>
        </a:p>
      </dsp:txBody>
      <dsp:txXfrm>
        <a:off x="4102836" y="2643028"/>
        <a:ext cx="2697277" cy="1141856"/>
      </dsp:txXfrm>
    </dsp:sp>
    <dsp:sp modelId="{FC15546F-4354-D54A-B7DB-992FE21A48A1}">
      <dsp:nvSpPr>
        <dsp:cNvPr id="0" name=""/>
        <dsp:cNvSpPr/>
      </dsp:nvSpPr>
      <dsp:spPr>
        <a:xfrm>
          <a:off x="7441210" y="0"/>
          <a:ext cx="3460408" cy="4022725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Change</a:t>
          </a:r>
        </a:p>
        <a:p>
          <a:pPr marL="0" lvl="0" indent="0" algn="ctr" defTabSz="977900">
            <a:lnSpc>
              <a:spcPct val="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Advisory</a:t>
          </a:r>
        </a:p>
        <a:p>
          <a:pPr marL="0" lvl="0" indent="0" algn="ctr" defTabSz="977900">
            <a:lnSpc>
              <a:spcPct val="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 Board</a:t>
          </a:r>
        </a:p>
        <a:p>
          <a:pPr marL="0" lvl="0" indent="0" algn="ctr" defTabSz="977900">
            <a:lnSpc>
              <a:spcPct val="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(CAB)</a:t>
          </a:r>
        </a:p>
      </dsp:txBody>
      <dsp:txXfrm>
        <a:off x="7441210" y="0"/>
        <a:ext cx="3460408" cy="1206817"/>
      </dsp:txXfrm>
    </dsp:sp>
    <dsp:sp modelId="{88ADF287-9D92-4837-B86E-ED1AADB112C2}">
      <dsp:nvSpPr>
        <dsp:cNvPr id="0" name=""/>
        <dsp:cNvSpPr/>
      </dsp:nvSpPr>
      <dsp:spPr>
        <a:xfrm>
          <a:off x="7787251" y="1207996"/>
          <a:ext cx="2768327" cy="1212906"/>
        </a:xfrm>
        <a:prstGeom prst="roundRect">
          <a:avLst>
            <a:gd name="adj" fmla="val 10000"/>
          </a:avLst>
        </a:prstGeom>
        <a:solidFill>
          <a:schemeClr val="accent2">
            <a:hueOff val="-583649"/>
            <a:satOff val="0"/>
            <a:lumOff val="898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j-lt"/>
            </a:rPr>
            <a:t>Monthly with CAB Members Only</a:t>
          </a:r>
        </a:p>
      </dsp:txBody>
      <dsp:txXfrm>
        <a:off x="7822776" y="1243521"/>
        <a:ext cx="2697277" cy="1141856"/>
      </dsp:txXfrm>
    </dsp:sp>
    <dsp:sp modelId="{38EC4E77-1819-4F37-8095-7D34998EB735}">
      <dsp:nvSpPr>
        <dsp:cNvPr id="0" name=""/>
        <dsp:cNvSpPr/>
      </dsp:nvSpPr>
      <dsp:spPr>
        <a:xfrm>
          <a:off x="7787251" y="2607503"/>
          <a:ext cx="2768327" cy="1212906"/>
        </a:xfrm>
        <a:prstGeom prst="roundRect">
          <a:avLst>
            <a:gd name="adj" fmla="val 10000"/>
          </a:avLst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j-lt"/>
            </a:rPr>
            <a:t>Policy &amp; Process Update Discussions</a:t>
          </a:r>
        </a:p>
      </dsp:txBody>
      <dsp:txXfrm>
        <a:off x="7822776" y="2643028"/>
        <a:ext cx="2697277" cy="114185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8E33ED-E848-1D40-B967-18ABC889638D}">
      <dsp:nvSpPr>
        <dsp:cNvPr id="0" name=""/>
        <dsp:cNvSpPr/>
      </dsp:nvSpPr>
      <dsp:spPr>
        <a:xfrm rot="10800000">
          <a:off x="3692815" y="0"/>
          <a:ext cx="7195947" cy="804544"/>
        </a:xfrm>
        <a:prstGeom prst="nonIsoscelesTrapezoid">
          <a:avLst>
            <a:gd name="adj1" fmla="val 0"/>
            <a:gd name="adj2" fmla="val 92152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Risk is high &amp; impact is all user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Minimum lead time: 30+ days for normal chang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Meetings: CCB</a:t>
          </a:r>
          <a:endParaRPr lang="en-US" sz="1600" kern="1200" dirty="0">
            <a:highlight>
              <a:srgbClr val="FFFF00"/>
            </a:highlight>
            <a:latin typeface="+mn-lt"/>
          </a:endParaRPr>
        </a:p>
      </dsp:txBody>
      <dsp:txXfrm rot="10800000">
        <a:off x="4434215" y="0"/>
        <a:ext cx="6454546" cy="804544"/>
      </dsp:txXfrm>
    </dsp:sp>
    <dsp:sp modelId="{2D320BFB-DC33-174B-A8D9-B8674305A6F1}">
      <dsp:nvSpPr>
        <dsp:cNvPr id="0" name=""/>
        <dsp:cNvSpPr/>
      </dsp:nvSpPr>
      <dsp:spPr>
        <a:xfrm>
          <a:off x="2951414" y="0"/>
          <a:ext cx="1482801" cy="804544"/>
        </a:xfrm>
        <a:prstGeom prst="trapezoid">
          <a:avLst>
            <a:gd name="adj" fmla="val 92152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solidFill>
                <a:schemeClr val="bg1"/>
              </a:solidFill>
              <a:latin typeface="+mn-lt"/>
            </a:rPr>
            <a:t>Major</a:t>
          </a:r>
        </a:p>
      </dsp:txBody>
      <dsp:txXfrm>
        <a:off x="2951414" y="0"/>
        <a:ext cx="1482801" cy="804544"/>
      </dsp:txXfrm>
    </dsp:sp>
    <dsp:sp modelId="{22F7F925-D534-764B-8FC9-791264DA8807}">
      <dsp:nvSpPr>
        <dsp:cNvPr id="0" name=""/>
        <dsp:cNvSpPr/>
      </dsp:nvSpPr>
      <dsp:spPr>
        <a:xfrm rot="10800000">
          <a:off x="4434215" y="804544"/>
          <a:ext cx="6454546" cy="804544"/>
        </a:xfrm>
        <a:prstGeom prst="nonIsoscelesTrapezoid">
          <a:avLst>
            <a:gd name="adj1" fmla="val 0"/>
            <a:gd name="adj2" fmla="val 92152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75095"/>
              <a:satOff val="0"/>
              <a:lumOff val="269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Risk is medium &amp; impact is many user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Minimum lead time: 7+ days for normal chang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Meetings: CCB</a:t>
          </a:r>
          <a:endParaRPr lang="en-US" sz="1600" kern="1200" dirty="0">
            <a:highlight>
              <a:srgbClr val="FFFF00"/>
            </a:highlight>
            <a:latin typeface="+mn-lt"/>
          </a:endParaRPr>
        </a:p>
      </dsp:txBody>
      <dsp:txXfrm rot="10800000">
        <a:off x="5175616" y="804544"/>
        <a:ext cx="5713145" cy="804544"/>
      </dsp:txXfrm>
    </dsp:sp>
    <dsp:sp modelId="{696C422F-A791-EA4E-9C17-EBA3AD6C0D30}">
      <dsp:nvSpPr>
        <dsp:cNvPr id="0" name=""/>
        <dsp:cNvSpPr/>
      </dsp:nvSpPr>
      <dsp:spPr>
        <a:xfrm>
          <a:off x="2210013" y="804544"/>
          <a:ext cx="2965602" cy="804544"/>
        </a:xfrm>
        <a:prstGeom prst="trapezoid">
          <a:avLst>
            <a:gd name="adj" fmla="val 92152"/>
          </a:avLst>
        </a:prstGeom>
        <a:solidFill>
          <a:schemeClr val="accent2">
            <a:hueOff val="-175095"/>
            <a:satOff val="0"/>
            <a:lumOff val="269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chemeClr val="bg1"/>
              </a:solidFill>
              <a:latin typeface="+mn-lt"/>
            </a:rPr>
            <a:t>Significant</a:t>
          </a:r>
        </a:p>
      </dsp:txBody>
      <dsp:txXfrm>
        <a:off x="2728994" y="804544"/>
        <a:ext cx="1927641" cy="804544"/>
      </dsp:txXfrm>
    </dsp:sp>
    <dsp:sp modelId="{12E725CD-A80F-B74E-B8E0-4B9AD90CB693}">
      <dsp:nvSpPr>
        <dsp:cNvPr id="0" name=""/>
        <dsp:cNvSpPr/>
      </dsp:nvSpPr>
      <dsp:spPr>
        <a:xfrm rot="10800000">
          <a:off x="5175616" y="1609089"/>
          <a:ext cx="5713145" cy="804544"/>
        </a:xfrm>
        <a:prstGeom prst="nonIsoscelesTrapezoid">
          <a:avLst>
            <a:gd name="adj1" fmla="val 0"/>
            <a:gd name="adj2" fmla="val 92152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350189"/>
              <a:satOff val="0"/>
              <a:lumOff val="53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Risk is low &amp; impact is few user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Minimum lead time: 2+ days for normal chang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Meetings: None</a:t>
          </a:r>
        </a:p>
      </dsp:txBody>
      <dsp:txXfrm rot="10800000">
        <a:off x="5917016" y="1609089"/>
        <a:ext cx="4971745" cy="804544"/>
      </dsp:txXfrm>
    </dsp:sp>
    <dsp:sp modelId="{CD07451E-2817-384F-933F-05B78683BB65}">
      <dsp:nvSpPr>
        <dsp:cNvPr id="0" name=""/>
        <dsp:cNvSpPr/>
      </dsp:nvSpPr>
      <dsp:spPr>
        <a:xfrm>
          <a:off x="1468613" y="1609089"/>
          <a:ext cx="4448403" cy="804544"/>
        </a:xfrm>
        <a:prstGeom prst="trapezoid">
          <a:avLst>
            <a:gd name="adj" fmla="val 92152"/>
          </a:avLst>
        </a:prstGeom>
        <a:solidFill>
          <a:schemeClr val="accent2">
            <a:hueOff val="-350189"/>
            <a:satOff val="0"/>
            <a:lumOff val="53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chemeClr val="bg1"/>
              </a:solidFill>
              <a:latin typeface="+mn-lt"/>
            </a:rPr>
            <a:t>Minor</a:t>
          </a:r>
        </a:p>
      </dsp:txBody>
      <dsp:txXfrm>
        <a:off x="2247083" y="1609089"/>
        <a:ext cx="2891462" cy="804544"/>
      </dsp:txXfrm>
    </dsp:sp>
    <dsp:sp modelId="{D135BED2-11C7-E94C-A325-54E76335DA84}">
      <dsp:nvSpPr>
        <dsp:cNvPr id="0" name=""/>
        <dsp:cNvSpPr/>
      </dsp:nvSpPr>
      <dsp:spPr>
        <a:xfrm rot="10800000">
          <a:off x="5917016" y="2413634"/>
          <a:ext cx="4971745" cy="804544"/>
        </a:xfrm>
        <a:prstGeom prst="nonIsoscelesTrapezoid">
          <a:avLst>
            <a:gd name="adj1" fmla="val 0"/>
            <a:gd name="adj2" fmla="val 92152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525284"/>
              <a:satOff val="0"/>
              <a:lumOff val="808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Risk very low &amp; no impac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Minimum lead time: Non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Meetings: None</a:t>
          </a:r>
        </a:p>
      </dsp:txBody>
      <dsp:txXfrm rot="10800000">
        <a:off x="6658417" y="2413634"/>
        <a:ext cx="4230344" cy="804544"/>
      </dsp:txXfrm>
    </dsp:sp>
    <dsp:sp modelId="{E79004C2-1954-B646-94F4-0DCDA9AE875C}">
      <dsp:nvSpPr>
        <dsp:cNvPr id="0" name=""/>
        <dsp:cNvSpPr/>
      </dsp:nvSpPr>
      <dsp:spPr>
        <a:xfrm>
          <a:off x="727212" y="2413634"/>
          <a:ext cx="5931204" cy="804544"/>
        </a:xfrm>
        <a:prstGeom prst="trapezoid">
          <a:avLst>
            <a:gd name="adj" fmla="val 92152"/>
          </a:avLst>
        </a:prstGeom>
        <a:solidFill>
          <a:schemeClr val="accent2">
            <a:hueOff val="-525284"/>
            <a:satOff val="0"/>
            <a:lumOff val="80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chemeClr val="bg1"/>
              </a:solidFill>
              <a:latin typeface="+mn-lt"/>
            </a:rPr>
            <a:t>Pre-approved</a:t>
          </a:r>
        </a:p>
      </dsp:txBody>
      <dsp:txXfrm>
        <a:off x="1765173" y="2413634"/>
        <a:ext cx="3855283" cy="804544"/>
      </dsp:txXfrm>
    </dsp:sp>
    <dsp:sp modelId="{950BEB79-9E51-9A48-8F3F-D8AA39B8FEAC}">
      <dsp:nvSpPr>
        <dsp:cNvPr id="0" name=""/>
        <dsp:cNvSpPr/>
      </dsp:nvSpPr>
      <dsp:spPr>
        <a:xfrm rot="10800000">
          <a:off x="6627071" y="3218179"/>
          <a:ext cx="4285038" cy="804544"/>
        </a:xfrm>
        <a:prstGeom prst="nonIsoscelesTrapezoid">
          <a:avLst>
            <a:gd name="adj1" fmla="val 0"/>
            <a:gd name="adj2" fmla="val 92152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700378"/>
              <a:satOff val="0"/>
              <a:lumOff val="1078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Document Repository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No recorded chang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Meetings: None</a:t>
          </a:r>
        </a:p>
      </dsp:txBody>
      <dsp:txXfrm rot="10800000">
        <a:off x="7383085" y="3218179"/>
        <a:ext cx="3534052" cy="804544"/>
      </dsp:txXfrm>
    </dsp:sp>
    <dsp:sp modelId="{BA3223FD-B43B-E54B-8EAE-389351EC7991}">
      <dsp:nvSpPr>
        <dsp:cNvPr id="0" name=""/>
        <dsp:cNvSpPr/>
      </dsp:nvSpPr>
      <dsp:spPr>
        <a:xfrm>
          <a:off x="-14187" y="3218179"/>
          <a:ext cx="7410632" cy="804544"/>
        </a:xfrm>
        <a:prstGeom prst="trapezoid">
          <a:avLst>
            <a:gd name="adj" fmla="val 92152"/>
          </a:avLst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chemeClr val="bg1"/>
              </a:solidFill>
              <a:latin typeface="+mn-lt"/>
            </a:rPr>
            <a:t>SOP</a:t>
          </a:r>
        </a:p>
      </dsp:txBody>
      <dsp:txXfrm>
        <a:off x="1282672" y="3218179"/>
        <a:ext cx="4816910" cy="804544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32F0A8-E2CB-D744-B9E5-4EE9D7E88FC7}">
      <dsp:nvSpPr>
        <dsp:cNvPr id="0" name=""/>
        <dsp:cNvSpPr/>
      </dsp:nvSpPr>
      <dsp:spPr>
        <a:xfrm>
          <a:off x="-4548756" y="-697308"/>
          <a:ext cx="5417342" cy="5417342"/>
        </a:xfrm>
        <a:prstGeom prst="blockArc">
          <a:avLst>
            <a:gd name="adj1" fmla="val 18900000"/>
            <a:gd name="adj2" fmla="val 2700000"/>
            <a:gd name="adj3" fmla="val 399"/>
          </a:avLst>
        </a:pr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621B31-8774-1B4F-B4B2-D6498BEA1EC4}">
      <dsp:nvSpPr>
        <dsp:cNvPr id="0" name=""/>
        <dsp:cNvSpPr/>
      </dsp:nvSpPr>
      <dsp:spPr>
        <a:xfrm>
          <a:off x="636178" y="574686"/>
          <a:ext cx="10279984" cy="114921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2187" tIns="78740" rIns="78740" bIns="7874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>
              <a:latin typeface="+mn-lt"/>
            </a:rPr>
            <a:t>Enterpris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>
              <a:latin typeface="+mn-lt"/>
            </a:rPr>
            <a:t>No Changes for the entire Enterprise </a:t>
          </a:r>
        </a:p>
      </dsp:txBody>
      <dsp:txXfrm>
        <a:off x="636178" y="574686"/>
        <a:ext cx="10279984" cy="1149212"/>
      </dsp:txXfrm>
    </dsp:sp>
    <dsp:sp modelId="{1F64E6AA-6DAB-BF48-8984-113DA30E8ADD}">
      <dsp:nvSpPr>
        <dsp:cNvPr id="0" name=""/>
        <dsp:cNvSpPr/>
      </dsp:nvSpPr>
      <dsp:spPr>
        <a:xfrm>
          <a:off x="-13213" y="431034"/>
          <a:ext cx="1436515" cy="143651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7DD2C7-52A2-3A44-925B-6B1FE6876595}">
      <dsp:nvSpPr>
        <dsp:cNvPr id="0" name=""/>
        <dsp:cNvSpPr/>
      </dsp:nvSpPr>
      <dsp:spPr>
        <a:xfrm>
          <a:off x="636178" y="2298826"/>
          <a:ext cx="10279984" cy="1149212"/>
        </a:xfrm>
        <a:prstGeom prst="rect">
          <a:avLst/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2187" tIns="78740" rIns="78740" bIns="7874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>
              <a:latin typeface="+mn-lt"/>
            </a:rPr>
            <a:t>Site Specific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>
              <a:latin typeface="+mn-lt"/>
            </a:rPr>
            <a:t>No Changes for that Site or any Enterprise Change that impacts that Site</a:t>
          </a:r>
        </a:p>
      </dsp:txBody>
      <dsp:txXfrm>
        <a:off x="636178" y="2298826"/>
        <a:ext cx="10279984" cy="1149212"/>
      </dsp:txXfrm>
    </dsp:sp>
    <dsp:sp modelId="{AE5B7E19-78E3-004B-8F0E-63E1D5616F90}">
      <dsp:nvSpPr>
        <dsp:cNvPr id="0" name=""/>
        <dsp:cNvSpPr/>
      </dsp:nvSpPr>
      <dsp:spPr>
        <a:xfrm>
          <a:off x="-13213" y="2155174"/>
          <a:ext cx="1436515" cy="143651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700378"/>
              <a:satOff val="0"/>
              <a:lumOff val="1078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5750F-C34A-D34D-A6FE-1EF6FF5F4507}">
      <dsp:nvSpPr>
        <dsp:cNvPr id="0" name=""/>
        <dsp:cNvSpPr/>
      </dsp:nvSpPr>
      <dsp:spPr>
        <a:xfrm>
          <a:off x="0" y="407562"/>
          <a:ext cx="10902950" cy="153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46190" tIns="562356" rIns="846190" bIns="192024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>
              <a:latin typeface="+mj-lt"/>
            </a:rPr>
            <a:t>Events with large crowds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>
              <a:latin typeface="+mj-lt"/>
            </a:rPr>
            <a:t>Critical Application Upgrades</a:t>
          </a:r>
        </a:p>
      </dsp:txBody>
      <dsp:txXfrm>
        <a:off x="0" y="407562"/>
        <a:ext cx="10902950" cy="1530900"/>
      </dsp:txXfrm>
    </dsp:sp>
    <dsp:sp modelId="{50175B79-F95A-1C4B-A4A2-0C5C5EA8DA47}">
      <dsp:nvSpPr>
        <dsp:cNvPr id="0" name=""/>
        <dsp:cNvSpPr/>
      </dsp:nvSpPr>
      <dsp:spPr>
        <a:xfrm>
          <a:off x="545147" y="9042"/>
          <a:ext cx="7632065" cy="7970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8474" tIns="0" rIns="288474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>
              <a:latin typeface="+mj-lt"/>
            </a:rPr>
            <a:t>Planned</a:t>
          </a:r>
        </a:p>
      </dsp:txBody>
      <dsp:txXfrm>
        <a:off x="584055" y="47950"/>
        <a:ext cx="7554249" cy="719224"/>
      </dsp:txXfrm>
    </dsp:sp>
    <dsp:sp modelId="{4D9BB9F3-5BB3-984A-AA65-42904FF15294}">
      <dsp:nvSpPr>
        <dsp:cNvPr id="0" name=""/>
        <dsp:cNvSpPr/>
      </dsp:nvSpPr>
      <dsp:spPr>
        <a:xfrm>
          <a:off x="0" y="2482782"/>
          <a:ext cx="10902950" cy="1530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700378"/>
              <a:satOff val="0"/>
              <a:lumOff val="1078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46190" tIns="562356" rIns="846190" bIns="192024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>
              <a:latin typeface="Georgia" panose="02040502050405020303" pitchFamily="18" charset="0"/>
            </a:rPr>
            <a:t>Local Emergency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>
              <a:latin typeface="Georgia" panose="02040502050405020303" pitchFamily="18" charset="0"/>
            </a:rPr>
            <a:t>Unannounced visits (e.g.: Joint Commission)</a:t>
          </a:r>
        </a:p>
      </dsp:txBody>
      <dsp:txXfrm>
        <a:off x="0" y="2482782"/>
        <a:ext cx="10902950" cy="1530900"/>
      </dsp:txXfrm>
    </dsp:sp>
    <dsp:sp modelId="{698CDA2A-BB42-824E-A0D3-479DBB77266A}">
      <dsp:nvSpPr>
        <dsp:cNvPr id="0" name=""/>
        <dsp:cNvSpPr/>
      </dsp:nvSpPr>
      <dsp:spPr>
        <a:xfrm>
          <a:off x="545147" y="2084262"/>
          <a:ext cx="7632065" cy="797040"/>
        </a:xfrm>
        <a:prstGeom prst="roundRect">
          <a:avLst/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8474" tIns="0" rIns="288474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>
              <a:latin typeface="+mj-lt"/>
            </a:rPr>
            <a:t>Unplanned</a:t>
          </a:r>
        </a:p>
      </dsp:txBody>
      <dsp:txXfrm>
        <a:off x="584055" y="2123170"/>
        <a:ext cx="7554249" cy="7192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A2C066-DDB1-415A-8358-27CB76D4B56F}">
      <dsp:nvSpPr>
        <dsp:cNvPr id="0" name=""/>
        <dsp:cNvSpPr/>
      </dsp:nvSpPr>
      <dsp:spPr>
        <a:xfrm>
          <a:off x="1393789" y="1265133"/>
          <a:ext cx="1254333" cy="1254333"/>
        </a:xfrm>
        <a:prstGeom prst="ellipse">
          <a:avLst/>
        </a:prstGeom>
        <a:solidFill>
          <a:srgbClr val="00B0F0"/>
        </a:solidFill>
        <a:ln w="3175" cap="flat" cmpd="sng" algn="ctr">
          <a:solidFill>
            <a:schemeClr val="bg1">
              <a:lumMod val="9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>
              <a:latin typeface="Century Gothic" pitchFamily="34" charset="0"/>
            </a:rPr>
            <a:t>Mission</a:t>
          </a:r>
        </a:p>
      </dsp:txBody>
      <dsp:txXfrm>
        <a:off x="1577482" y="1448826"/>
        <a:ext cx="886947" cy="886947"/>
      </dsp:txXfrm>
    </dsp:sp>
    <dsp:sp modelId="{E649D2A9-79F8-48E9-8A9F-8F6BC8B0C19F}">
      <dsp:nvSpPr>
        <dsp:cNvPr id="0" name=""/>
        <dsp:cNvSpPr/>
      </dsp:nvSpPr>
      <dsp:spPr>
        <a:xfrm rot="16200000">
          <a:off x="1914166" y="1134964"/>
          <a:ext cx="213580" cy="46757"/>
        </a:xfrm>
        <a:custGeom>
          <a:avLst/>
          <a:gdLst/>
          <a:ahLst/>
          <a:cxnLst/>
          <a:rect l="0" t="0" r="0" b="0"/>
          <a:pathLst>
            <a:path>
              <a:moveTo>
                <a:pt x="0" y="23378"/>
              </a:moveTo>
              <a:lnTo>
                <a:pt x="213580" y="233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latin typeface="Century Gothic" pitchFamily="34" charset="0"/>
          </a:endParaRPr>
        </a:p>
      </dsp:txBody>
      <dsp:txXfrm>
        <a:off x="2015616" y="1153003"/>
        <a:ext cx="10679" cy="10679"/>
      </dsp:txXfrm>
    </dsp:sp>
    <dsp:sp modelId="{F1D4B52A-54DD-40EB-92A4-DAC473BEF443}">
      <dsp:nvSpPr>
        <dsp:cNvPr id="0" name=""/>
        <dsp:cNvSpPr/>
      </dsp:nvSpPr>
      <dsp:spPr>
        <a:xfrm>
          <a:off x="1495981" y="1603"/>
          <a:ext cx="1049950" cy="1049950"/>
        </a:xfrm>
        <a:prstGeom prst="ellipse">
          <a:avLst/>
        </a:prstGeom>
        <a:solidFill>
          <a:srgbClr val="92D050"/>
        </a:solidFill>
        <a:ln w="3175" cap="flat" cmpd="sng" algn="ctr">
          <a:solidFill>
            <a:schemeClr val="bg1">
              <a:lumMod val="9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>
                  <a:lumMod val="85000"/>
                  <a:lumOff val="15000"/>
                </a:schemeClr>
              </a:solidFill>
              <a:latin typeface="Century Gothic" pitchFamily="34" charset="0"/>
            </a:rPr>
            <a:t>Patient Care</a:t>
          </a:r>
        </a:p>
      </dsp:txBody>
      <dsp:txXfrm>
        <a:off x="1649743" y="155365"/>
        <a:ext cx="742426" cy="742426"/>
      </dsp:txXfrm>
    </dsp:sp>
    <dsp:sp modelId="{9A617312-6C07-4CC0-A5D3-BE5EF2B75DE7}">
      <dsp:nvSpPr>
        <dsp:cNvPr id="0" name=""/>
        <dsp:cNvSpPr/>
      </dsp:nvSpPr>
      <dsp:spPr>
        <a:xfrm>
          <a:off x="2648123" y="1868921"/>
          <a:ext cx="213580" cy="46757"/>
        </a:xfrm>
        <a:custGeom>
          <a:avLst/>
          <a:gdLst/>
          <a:ahLst/>
          <a:cxnLst/>
          <a:rect l="0" t="0" r="0" b="0"/>
          <a:pathLst>
            <a:path>
              <a:moveTo>
                <a:pt x="0" y="23378"/>
              </a:moveTo>
              <a:lnTo>
                <a:pt x="213580" y="233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latin typeface="Century Gothic" pitchFamily="34" charset="0"/>
          </a:endParaRPr>
        </a:p>
      </dsp:txBody>
      <dsp:txXfrm>
        <a:off x="2749573" y="1886960"/>
        <a:ext cx="10679" cy="10679"/>
      </dsp:txXfrm>
    </dsp:sp>
    <dsp:sp modelId="{62126F48-E035-4309-842C-25A632A3B543}">
      <dsp:nvSpPr>
        <dsp:cNvPr id="0" name=""/>
        <dsp:cNvSpPr/>
      </dsp:nvSpPr>
      <dsp:spPr>
        <a:xfrm>
          <a:off x="2861703" y="1367324"/>
          <a:ext cx="1049950" cy="1049950"/>
        </a:xfrm>
        <a:prstGeom prst="ellipse">
          <a:avLst/>
        </a:prstGeom>
        <a:solidFill>
          <a:srgbClr val="FFB645"/>
        </a:solidFill>
        <a:ln w="3175" cap="flat" cmpd="sng" algn="ctr">
          <a:solidFill>
            <a:schemeClr val="bg1">
              <a:lumMod val="9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>
                  <a:lumMod val="85000"/>
                  <a:lumOff val="15000"/>
                </a:schemeClr>
              </a:solidFill>
              <a:latin typeface="Century Gothic" pitchFamily="34" charset="0"/>
            </a:rPr>
            <a:t>Discovery</a:t>
          </a:r>
        </a:p>
      </dsp:txBody>
      <dsp:txXfrm>
        <a:off x="3015465" y="1521086"/>
        <a:ext cx="742426" cy="742426"/>
      </dsp:txXfrm>
    </dsp:sp>
    <dsp:sp modelId="{128884E2-0635-4AAB-9232-A8FE91102401}">
      <dsp:nvSpPr>
        <dsp:cNvPr id="0" name=""/>
        <dsp:cNvSpPr/>
      </dsp:nvSpPr>
      <dsp:spPr>
        <a:xfrm rot="5400000">
          <a:off x="1914166" y="2602877"/>
          <a:ext cx="213580" cy="46757"/>
        </a:xfrm>
        <a:custGeom>
          <a:avLst/>
          <a:gdLst/>
          <a:ahLst/>
          <a:cxnLst/>
          <a:rect l="0" t="0" r="0" b="0"/>
          <a:pathLst>
            <a:path>
              <a:moveTo>
                <a:pt x="0" y="23378"/>
              </a:moveTo>
              <a:lnTo>
                <a:pt x="213580" y="233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latin typeface="Century Gothic" pitchFamily="34" charset="0"/>
          </a:endParaRPr>
        </a:p>
      </dsp:txBody>
      <dsp:txXfrm>
        <a:off x="2015616" y="2620917"/>
        <a:ext cx="10679" cy="10679"/>
      </dsp:txXfrm>
    </dsp:sp>
    <dsp:sp modelId="{D843B987-359F-46A5-B5B9-4EBED4FBC8F7}">
      <dsp:nvSpPr>
        <dsp:cNvPr id="0" name=""/>
        <dsp:cNvSpPr/>
      </dsp:nvSpPr>
      <dsp:spPr>
        <a:xfrm>
          <a:off x="1495981" y="2733046"/>
          <a:ext cx="1049950" cy="1049950"/>
        </a:xfrm>
        <a:prstGeom prst="ellipse">
          <a:avLst/>
        </a:prstGeom>
        <a:solidFill>
          <a:srgbClr val="FF535E"/>
        </a:solidFill>
        <a:ln w="3175" cap="flat" cmpd="sng" algn="ctr">
          <a:solidFill>
            <a:schemeClr val="bg1">
              <a:lumMod val="9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chemeClr val="tx1">
                  <a:lumMod val="85000"/>
                  <a:lumOff val="15000"/>
                </a:schemeClr>
              </a:solidFill>
              <a:latin typeface="Century Gothic" pitchFamily="34" charset="0"/>
            </a:rPr>
            <a:t>Community</a:t>
          </a:r>
        </a:p>
      </dsp:txBody>
      <dsp:txXfrm>
        <a:off x="1649743" y="2886808"/>
        <a:ext cx="742426" cy="742426"/>
      </dsp:txXfrm>
    </dsp:sp>
    <dsp:sp modelId="{43FDA0DD-FFA4-4E62-B80C-D5E4F1E66551}">
      <dsp:nvSpPr>
        <dsp:cNvPr id="0" name=""/>
        <dsp:cNvSpPr/>
      </dsp:nvSpPr>
      <dsp:spPr>
        <a:xfrm rot="10800000">
          <a:off x="1180209" y="1868921"/>
          <a:ext cx="213580" cy="46757"/>
        </a:xfrm>
        <a:custGeom>
          <a:avLst/>
          <a:gdLst/>
          <a:ahLst/>
          <a:cxnLst/>
          <a:rect l="0" t="0" r="0" b="0"/>
          <a:pathLst>
            <a:path>
              <a:moveTo>
                <a:pt x="0" y="23378"/>
              </a:moveTo>
              <a:lnTo>
                <a:pt x="213580" y="233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latin typeface="Century Gothic" pitchFamily="34" charset="0"/>
          </a:endParaRPr>
        </a:p>
      </dsp:txBody>
      <dsp:txXfrm rot="10800000">
        <a:off x="1281660" y="1886960"/>
        <a:ext cx="10679" cy="10679"/>
      </dsp:txXfrm>
    </dsp:sp>
    <dsp:sp modelId="{2C7C5245-DB23-4CCB-92F4-679E85D97A1C}">
      <dsp:nvSpPr>
        <dsp:cNvPr id="0" name=""/>
        <dsp:cNvSpPr/>
      </dsp:nvSpPr>
      <dsp:spPr>
        <a:xfrm>
          <a:off x="130259" y="1367324"/>
          <a:ext cx="1049950" cy="1049950"/>
        </a:xfrm>
        <a:prstGeom prst="ellipse">
          <a:avLst/>
        </a:prstGeom>
        <a:solidFill>
          <a:srgbClr val="6CEAFF"/>
        </a:solidFill>
        <a:ln w="3175" cap="flat" cmpd="sng" algn="ctr">
          <a:solidFill>
            <a:schemeClr val="bg1">
              <a:lumMod val="9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>
                  <a:lumMod val="85000"/>
                  <a:lumOff val="15000"/>
                </a:schemeClr>
              </a:solidFill>
              <a:latin typeface="Century Gothic" pitchFamily="34" charset="0"/>
            </a:rPr>
            <a:t>Teaching</a:t>
          </a:r>
        </a:p>
      </dsp:txBody>
      <dsp:txXfrm>
        <a:off x="284021" y="1521086"/>
        <a:ext cx="742426" cy="7424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92D908-87E7-B841-81CA-9B95758393C9}">
      <dsp:nvSpPr>
        <dsp:cNvPr id="0" name=""/>
        <dsp:cNvSpPr/>
      </dsp:nvSpPr>
      <dsp:spPr>
        <a:xfrm rot="5400000">
          <a:off x="7104837" y="-3100715"/>
          <a:ext cx="618336" cy="6977888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91440" rIns="182880" bIns="9144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+mn-lt"/>
            </a:rPr>
            <a:t>Changes that allow for adequate lead-time. </a:t>
          </a:r>
        </a:p>
      </dsp:txBody>
      <dsp:txXfrm rot="-5400000">
        <a:off x="3925062" y="109245"/>
        <a:ext cx="6947703" cy="557966"/>
      </dsp:txXfrm>
    </dsp:sp>
    <dsp:sp modelId="{B9E68564-0D17-1945-B201-3601DAA7AB30}">
      <dsp:nvSpPr>
        <dsp:cNvPr id="0" name=""/>
        <dsp:cNvSpPr/>
      </dsp:nvSpPr>
      <dsp:spPr>
        <a:xfrm>
          <a:off x="0" y="1767"/>
          <a:ext cx="3925062" cy="77292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74295" rIns="148590" bIns="74295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>
              <a:latin typeface="+mn-lt"/>
            </a:rPr>
            <a:t>Normal</a:t>
          </a:r>
        </a:p>
      </dsp:txBody>
      <dsp:txXfrm>
        <a:off x="37731" y="39498"/>
        <a:ext cx="3849600" cy="697459"/>
      </dsp:txXfrm>
    </dsp:sp>
    <dsp:sp modelId="{E1CEB8D3-453D-7549-8771-6D8240FC572E}">
      <dsp:nvSpPr>
        <dsp:cNvPr id="0" name=""/>
        <dsp:cNvSpPr/>
      </dsp:nvSpPr>
      <dsp:spPr>
        <a:xfrm rot="5400000">
          <a:off x="7104837" y="-2289148"/>
          <a:ext cx="618336" cy="6977888"/>
        </a:xfrm>
        <a:prstGeom prst="round2SameRect">
          <a:avLst/>
        </a:prstGeom>
        <a:solidFill>
          <a:schemeClr val="accent2">
            <a:tint val="40000"/>
            <a:alpha val="90000"/>
            <a:hueOff val="-163929"/>
            <a:satOff val="6542"/>
            <a:lumOff val="762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163929"/>
              <a:satOff val="6542"/>
              <a:lumOff val="76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91440" rIns="182880" bIns="9144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+mn-lt"/>
            </a:rPr>
            <a:t>Changes that do not allow adequate lead-tim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+mn-lt"/>
            </a:rPr>
            <a:t>Often poor planning, but can be to address service issue </a:t>
          </a:r>
        </a:p>
      </dsp:txBody>
      <dsp:txXfrm rot="-5400000">
        <a:off x="3925062" y="920812"/>
        <a:ext cx="6947703" cy="557966"/>
      </dsp:txXfrm>
    </dsp:sp>
    <dsp:sp modelId="{C61356C4-2463-5948-80F6-77903AAAA73F}">
      <dsp:nvSpPr>
        <dsp:cNvPr id="0" name=""/>
        <dsp:cNvSpPr/>
      </dsp:nvSpPr>
      <dsp:spPr>
        <a:xfrm>
          <a:off x="0" y="813334"/>
          <a:ext cx="3925062" cy="772921"/>
        </a:xfrm>
        <a:prstGeom prst="roundRect">
          <a:avLst/>
        </a:prstGeom>
        <a:solidFill>
          <a:schemeClr val="accent2">
            <a:hueOff val="-175095"/>
            <a:satOff val="0"/>
            <a:lumOff val="269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74295" rIns="148590" bIns="74295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>
              <a:latin typeface="+mn-lt"/>
            </a:rPr>
            <a:t>Expedited</a:t>
          </a:r>
        </a:p>
      </dsp:txBody>
      <dsp:txXfrm>
        <a:off x="37731" y="851065"/>
        <a:ext cx="3849600" cy="697459"/>
      </dsp:txXfrm>
    </dsp:sp>
    <dsp:sp modelId="{00254B7D-D8C0-6F40-A5D6-6492063B89BB}">
      <dsp:nvSpPr>
        <dsp:cNvPr id="0" name=""/>
        <dsp:cNvSpPr/>
      </dsp:nvSpPr>
      <dsp:spPr>
        <a:xfrm rot="5400000">
          <a:off x="7104837" y="-1396165"/>
          <a:ext cx="618336" cy="6977888"/>
        </a:xfrm>
        <a:prstGeom prst="round2SameRect">
          <a:avLst/>
        </a:prstGeom>
        <a:solidFill>
          <a:schemeClr val="accent2">
            <a:tint val="40000"/>
            <a:alpha val="90000"/>
            <a:hueOff val="-327858"/>
            <a:satOff val="13083"/>
            <a:lumOff val="1524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327858"/>
              <a:satOff val="13083"/>
              <a:lumOff val="152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91440" rIns="182880" bIns="9144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+mn-lt"/>
            </a:rPr>
            <a:t>Changes with less than 30 minutes lead-time (or past)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+mn-lt"/>
            </a:rPr>
            <a:t>These are typically used to resolve a service interruption</a:t>
          </a:r>
        </a:p>
      </dsp:txBody>
      <dsp:txXfrm rot="-5400000">
        <a:off x="3925062" y="1813795"/>
        <a:ext cx="6947703" cy="557966"/>
      </dsp:txXfrm>
    </dsp:sp>
    <dsp:sp modelId="{147C6A4D-7179-9441-ABF6-82D775B029DD}">
      <dsp:nvSpPr>
        <dsp:cNvPr id="0" name=""/>
        <dsp:cNvSpPr/>
      </dsp:nvSpPr>
      <dsp:spPr>
        <a:xfrm>
          <a:off x="0" y="1624901"/>
          <a:ext cx="3925062" cy="772921"/>
        </a:xfrm>
        <a:prstGeom prst="roundRect">
          <a:avLst/>
        </a:prstGeom>
        <a:solidFill>
          <a:schemeClr val="accent2">
            <a:hueOff val="-350189"/>
            <a:satOff val="0"/>
            <a:lumOff val="53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74295" rIns="148590" bIns="74295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>
              <a:latin typeface="+mn-lt"/>
            </a:rPr>
            <a:t>Emergency</a:t>
          </a:r>
        </a:p>
      </dsp:txBody>
      <dsp:txXfrm>
        <a:off x="37731" y="1662632"/>
        <a:ext cx="3849600" cy="697459"/>
      </dsp:txXfrm>
    </dsp:sp>
    <dsp:sp modelId="{9546E626-8906-1547-8147-C080E5B09614}">
      <dsp:nvSpPr>
        <dsp:cNvPr id="0" name=""/>
        <dsp:cNvSpPr/>
      </dsp:nvSpPr>
      <dsp:spPr>
        <a:xfrm rot="5400000">
          <a:off x="7104837" y="-666014"/>
          <a:ext cx="618336" cy="6977888"/>
        </a:xfrm>
        <a:prstGeom prst="round2SameRect">
          <a:avLst/>
        </a:prstGeom>
        <a:solidFill>
          <a:schemeClr val="accent2">
            <a:tint val="40000"/>
            <a:alpha val="90000"/>
            <a:hueOff val="-491786"/>
            <a:satOff val="19625"/>
            <a:lumOff val="2286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491786"/>
              <a:satOff val="19625"/>
              <a:lumOff val="228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91440" rIns="182880" bIns="9144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+mn-lt"/>
            </a:rPr>
            <a:t>The Pre-Approved change type provides a template for introducing low-risk, routine changes to the environment</a:t>
          </a:r>
        </a:p>
      </dsp:txBody>
      <dsp:txXfrm rot="-5400000">
        <a:off x="3925062" y="2543946"/>
        <a:ext cx="6947703" cy="557966"/>
      </dsp:txXfrm>
    </dsp:sp>
    <dsp:sp modelId="{DABA450C-13B2-F240-8C39-2AED4C1BACD7}">
      <dsp:nvSpPr>
        <dsp:cNvPr id="0" name=""/>
        <dsp:cNvSpPr/>
      </dsp:nvSpPr>
      <dsp:spPr>
        <a:xfrm>
          <a:off x="0" y="2436469"/>
          <a:ext cx="3925062" cy="772921"/>
        </a:xfrm>
        <a:prstGeom prst="roundRect">
          <a:avLst/>
        </a:prstGeom>
        <a:solidFill>
          <a:schemeClr val="accent2">
            <a:hueOff val="-525284"/>
            <a:satOff val="0"/>
            <a:lumOff val="80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74295" rIns="148590" bIns="74295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>
              <a:latin typeface="+mn-lt"/>
            </a:rPr>
            <a:t>Pre-Approved</a:t>
          </a:r>
        </a:p>
      </dsp:txBody>
      <dsp:txXfrm>
        <a:off x="37731" y="2474200"/>
        <a:ext cx="3849600" cy="697459"/>
      </dsp:txXfrm>
    </dsp:sp>
    <dsp:sp modelId="{107D4D86-52F1-C949-BC2F-8F144B62D0CC}">
      <dsp:nvSpPr>
        <dsp:cNvPr id="0" name=""/>
        <dsp:cNvSpPr/>
      </dsp:nvSpPr>
      <dsp:spPr>
        <a:xfrm rot="5400000">
          <a:off x="7104837" y="145552"/>
          <a:ext cx="618336" cy="6977888"/>
        </a:xfrm>
        <a:prstGeom prst="round2SameRect">
          <a:avLst/>
        </a:prstGeom>
        <a:solidFill>
          <a:schemeClr val="accent2">
            <a:tint val="40000"/>
            <a:alpha val="90000"/>
            <a:hueOff val="-655715"/>
            <a:satOff val="26167"/>
            <a:lumOff val="3048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655715"/>
              <a:satOff val="26167"/>
              <a:lumOff val="304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>
              <a:latin typeface="+mn-lt"/>
            </a:rPr>
            <a:t>Reoccurring change with defined set of tasks, &amp; may involve multiple groups</a:t>
          </a:r>
        </a:p>
      </dsp:txBody>
      <dsp:txXfrm rot="-5400000">
        <a:off x="3925062" y="3355513"/>
        <a:ext cx="6947703" cy="557966"/>
      </dsp:txXfrm>
    </dsp:sp>
    <dsp:sp modelId="{83131DB4-73C9-F042-82B6-FC39E7CDA968}">
      <dsp:nvSpPr>
        <dsp:cNvPr id="0" name=""/>
        <dsp:cNvSpPr/>
      </dsp:nvSpPr>
      <dsp:spPr>
        <a:xfrm>
          <a:off x="0" y="3248036"/>
          <a:ext cx="3925062" cy="772921"/>
        </a:xfrm>
        <a:prstGeom prst="roundRect">
          <a:avLst/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74295" rIns="148590" bIns="74295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>
              <a:latin typeface="+mn-lt"/>
            </a:rPr>
            <a:t>Pre-Defined</a:t>
          </a:r>
        </a:p>
      </dsp:txBody>
      <dsp:txXfrm>
        <a:off x="37731" y="3285767"/>
        <a:ext cx="3849600" cy="6974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F4CBEB-20F4-C14C-97C1-4E68E32CC408}">
      <dsp:nvSpPr>
        <dsp:cNvPr id="0" name=""/>
        <dsp:cNvSpPr/>
      </dsp:nvSpPr>
      <dsp:spPr>
        <a:xfrm>
          <a:off x="0" y="27335"/>
          <a:ext cx="10902950" cy="40774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Low – Unexpected is not likely</a:t>
          </a:r>
        </a:p>
      </dsp:txBody>
      <dsp:txXfrm>
        <a:off x="19904" y="47239"/>
        <a:ext cx="10863142" cy="367937"/>
      </dsp:txXfrm>
    </dsp:sp>
    <dsp:sp modelId="{61BD2F88-B877-2A4C-A40D-0197E5F1E70C}">
      <dsp:nvSpPr>
        <dsp:cNvPr id="0" name=""/>
        <dsp:cNvSpPr/>
      </dsp:nvSpPr>
      <dsp:spPr>
        <a:xfrm>
          <a:off x="0" y="435080"/>
          <a:ext cx="10902950" cy="9149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6169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Simple technology; few steps or records updated &lt;10,000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Standard type of procedure that is executed often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Quickly implemented &amp; backed out by a single person</a:t>
          </a:r>
        </a:p>
      </dsp:txBody>
      <dsp:txXfrm>
        <a:off x="0" y="435080"/>
        <a:ext cx="10902950" cy="914940"/>
      </dsp:txXfrm>
    </dsp:sp>
    <dsp:sp modelId="{4F4DB639-05CB-1F40-B7CB-E14AF7137ECB}">
      <dsp:nvSpPr>
        <dsp:cNvPr id="0" name=""/>
        <dsp:cNvSpPr/>
      </dsp:nvSpPr>
      <dsp:spPr>
        <a:xfrm>
          <a:off x="0" y="1350020"/>
          <a:ext cx="10902950" cy="407745"/>
        </a:xfrm>
        <a:prstGeom prst="roundRect">
          <a:avLst/>
        </a:prstGeom>
        <a:solidFill>
          <a:schemeClr val="accent2">
            <a:hueOff val="-350189"/>
            <a:satOff val="0"/>
            <a:lumOff val="53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Medium – Unexpected is likely</a:t>
          </a:r>
        </a:p>
      </dsp:txBody>
      <dsp:txXfrm>
        <a:off x="19904" y="1369924"/>
        <a:ext cx="10863142" cy="367937"/>
      </dsp:txXfrm>
    </dsp:sp>
    <dsp:sp modelId="{49C04A49-DF95-2A49-9148-53BCA4BA84CA}">
      <dsp:nvSpPr>
        <dsp:cNvPr id="0" name=""/>
        <dsp:cNvSpPr/>
      </dsp:nvSpPr>
      <dsp:spPr>
        <a:xfrm>
          <a:off x="0" y="1757765"/>
          <a:ext cx="10902950" cy="9149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6169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Technology is not routine, multiple steps, not a process redesign; or records updated &lt;100,000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Nonstandard type of procedure and associated with level of difficulty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Implementing or backing out may be time consuming or more than one person</a:t>
          </a:r>
        </a:p>
      </dsp:txBody>
      <dsp:txXfrm>
        <a:off x="0" y="1757765"/>
        <a:ext cx="10902950" cy="914940"/>
      </dsp:txXfrm>
    </dsp:sp>
    <dsp:sp modelId="{D8AB72F0-4FF6-9142-B028-596FDF4A3470}">
      <dsp:nvSpPr>
        <dsp:cNvPr id="0" name=""/>
        <dsp:cNvSpPr/>
      </dsp:nvSpPr>
      <dsp:spPr>
        <a:xfrm>
          <a:off x="0" y="2672705"/>
          <a:ext cx="10902950" cy="407745"/>
        </a:xfrm>
        <a:prstGeom prst="roundRect">
          <a:avLst/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High - Unexpected is very likely</a:t>
          </a:r>
        </a:p>
      </dsp:txBody>
      <dsp:txXfrm>
        <a:off x="19904" y="2692609"/>
        <a:ext cx="10863142" cy="367937"/>
      </dsp:txXfrm>
    </dsp:sp>
    <dsp:sp modelId="{30938300-B142-EE4F-AA74-FDC5562E93BE}">
      <dsp:nvSpPr>
        <dsp:cNvPr id="0" name=""/>
        <dsp:cNvSpPr/>
      </dsp:nvSpPr>
      <dsp:spPr>
        <a:xfrm>
          <a:off x="0" y="3080450"/>
          <a:ext cx="10902950" cy="9149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6169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Technology is complex, involves a process redesign or records updated &gt;100,000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Technology procedure requires high level of multidisciplinary skill set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Knowledge of implementing or backing out is spread among disparate IS teams</a:t>
          </a:r>
        </a:p>
      </dsp:txBody>
      <dsp:txXfrm>
        <a:off x="0" y="3080450"/>
        <a:ext cx="10902950" cy="91494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F4CBEB-20F4-C14C-97C1-4E68E32CC408}">
      <dsp:nvSpPr>
        <dsp:cNvPr id="0" name=""/>
        <dsp:cNvSpPr/>
      </dsp:nvSpPr>
      <dsp:spPr>
        <a:xfrm>
          <a:off x="0" y="27335"/>
          <a:ext cx="10902950" cy="40774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Low – Few Users</a:t>
          </a:r>
        </a:p>
      </dsp:txBody>
      <dsp:txXfrm>
        <a:off x="19904" y="47239"/>
        <a:ext cx="10863142" cy="367937"/>
      </dsp:txXfrm>
    </dsp:sp>
    <dsp:sp modelId="{DCCFCB10-F627-004F-9F5D-2EC25E967161}">
      <dsp:nvSpPr>
        <dsp:cNvPr id="0" name=""/>
        <dsp:cNvSpPr/>
      </dsp:nvSpPr>
      <dsp:spPr>
        <a:xfrm>
          <a:off x="0" y="435080"/>
          <a:ext cx="10902950" cy="9149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6169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Isolated significance only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Users can work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Communication is targeted to a few groups</a:t>
          </a:r>
        </a:p>
      </dsp:txBody>
      <dsp:txXfrm>
        <a:off x="0" y="435080"/>
        <a:ext cx="10902950" cy="914940"/>
      </dsp:txXfrm>
    </dsp:sp>
    <dsp:sp modelId="{4F4DB639-05CB-1F40-B7CB-E14AF7137ECB}">
      <dsp:nvSpPr>
        <dsp:cNvPr id="0" name=""/>
        <dsp:cNvSpPr/>
      </dsp:nvSpPr>
      <dsp:spPr>
        <a:xfrm>
          <a:off x="0" y="1350020"/>
          <a:ext cx="10902950" cy="407745"/>
        </a:xfrm>
        <a:prstGeom prst="roundRect">
          <a:avLst/>
        </a:prstGeom>
        <a:solidFill>
          <a:schemeClr val="accent2">
            <a:hueOff val="-350189"/>
            <a:satOff val="0"/>
            <a:lumOff val="53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Medium – Many Users</a:t>
          </a:r>
        </a:p>
      </dsp:txBody>
      <dsp:txXfrm>
        <a:off x="19904" y="1369924"/>
        <a:ext cx="10863142" cy="367937"/>
      </dsp:txXfrm>
    </dsp:sp>
    <dsp:sp modelId="{6911CAAF-D760-0746-82EB-869070D4113E}">
      <dsp:nvSpPr>
        <dsp:cNvPr id="0" name=""/>
        <dsp:cNvSpPr/>
      </dsp:nvSpPr>
      <dsp:spPr>
        <a:xfrm>
          <a:off x="0" y="1757765"/>
          <a:ext cx="10902950" cy="9149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6169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Neither isolated nor Enterprise significanc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Users can work intermittently or use workaround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Communication is targeted to many groups but may not be across the Enterprise  </a:t>
          </a:r>
        </a:p>
      </dsp:txBody>
      <dsp:txXfrm>
        <a:off x="0" y="1757765"/>
        <a:ext cx="10902950" cy="914940"/>
      </dsp:txXfrm>
    </dsp:sp>
    <dsp:sp modelId="{D8AB72F0-4FF6-9142-B028-596FDF4A3470}">
      <dsp:nvSpPr>
        <dsp:cNvPr id="0" name=""/>
        <dsp:cNvSpPr/>
      </dsp:nvSpPr>
      <dsp:spPr>
        <a:xfrm>
          <a:off x="0" y="2672705"/>
          <a:ext cx="10902950" cy="407745"/>
        </a:xfrm>
        <a:prstGeom prst="roundRect">
          <a:avLst/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High - All or Majority of Users</a:t>
          </a:r>
        </a:p>
      </dsp:txBody>
      <dsp:txXfrm>
        <a:off x="19904" y="2692609"/>
        <a:ext cx="10863142" cy="367937"/>
      </dsp:txXfrm>
    </dsp:sp>
    <dsp:sp modelId="{E5F17FA5-B978-FE45-B1DA-EB9A14772D24}">
      <dsp:nvSpPr>
        <dsp:cNvPr id="0" name=""/>
        <dsp:cNvSpPr/>
      </dsp:nvSpPr>
      <dsp:spPr>
        <a:xfrm>
          <a:off x="0" y="3080450"/>
          <a:ext cx="10902950" cy="9149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6169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Enterprise-wide significanc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User can work intermittently, use workarounds, or cannot work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 dirty="0">
              <a:latin typeface="+mn-lt"/>
            </a:rPr>
            <a:t>Communication is targeted across Enterprise via various channels</a:t>
          </a:r>
        </a:p>
      </dsp:txBody>
      <dsp:txXfrm>
        <a:off x="0" y="3080450"/>
        <a:ext cx="10902950" cy="9149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8964C4-087E-1E4B-A10F-0C25B955F02B}">
      <dsp:nvSpPr>
        <dsp:cNvPr id="0" name=""/>
        <dsp:cNvSpPr/>
      </dsp:nvSpPr>
      <dsp:spPr>
        <a:xfrm rot="5400000">
          <a:off x="6895451" y="-2838786"/>
          <a:ext cx="1037108" cy="6977888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99060" rIns="198120" bIns="99060" numCol="1" spcCol="1270" anchor="ctr" anchorCtr="0">
          <a:noAutofit/>
        </a:bodyPr>
        <a:lstStyle/>
        <a:p>
          <a:pPr marL="285750" lvl="1" indent="-285750" algn="l" defTabSz="2311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5200" kern="1200" dirty="0">
              <a:latin typeface="+mn-lt"/>
            </a:rPr>
            <a:t>Minimum 2 days</a:t>
          </a:r>
        </a:p>
      </dsp:txBody>
      <dsp:txXfrm rot="-5400000">
        <a:off x="3925062" y="182230"/>
        <a:ext cx="6927261" cy="935854"/>
      </dsp:txXfrm>
    </dsp:sp>
    <dsp:sp modelId="{AE9276E2-439C-EC44-A076-EF121A404DDC}">
      <dsp:nvSpPr>
        <dsp:cNvPr id="0" name=""/>
        <dsp:cNvSpPr/>
      </dsp:nvSpPr>
      <dsp:spPr>
        <a:xfrm>
          <a:off x="0" y="1964"/>
          <a:ext cx="3925062" cy="129638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980" tIns="110490" rIns="220980" bIns="110490" numCol="1" spcCol="1270" anchor="ctr" anchorCtr="0">
          <a:noAutofit/>
        </a:bodyPr>
        <a:lstStyle/>
        <a:p>
          <a:pPr marL="0" lvl="0" indent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800" kern="1200" dirty="0">
              <a:latin typeface="+mn-lt"/>
            </a:rPr>
            <a:t>Minor</a:t>
          </a:r>
        </a:p>
      </dsp:txBody>
      <dsp:txXfrm>
        <a:off x="63284" y="65248"/>
        <a:ext cx="3798494" cy="1169817"/>
      </dsp:txXfrm>
    </dsp:sp>
    <dsp:sp modelId="{5DF7433A-63EE-9A4B-BBF8-9BB47C1887DC}">
      <dsp:nvSpPr>
        <dsp:cNvPr id="0" name=""/>
        <dsp:cNvSpPr/>
      </dsp:nvSpPr>
      <dsp:spPr>
        <a:xfrm rot="5400000">
          <a:off x="6895451" y="-1477581"/>
          <a:ext cx="1037108" cy="6977888"/>
        </a:xfrm>
        <a:prstGeom prst="round2SameRect">
          <a:avLst/>
        </a:prstGeom>
        <a:solidFill>
          <a:schemeClr val="accent2">
            <a:tint val="40000"/>
            <a:alpha val="90000"/>
            <a:hueOff val="-327858"/>
            <a:satOff val="13083"/>
            <a:lumOff val="1524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327858"/>
              <a:satOff val="13083"/>
              <a:lumOff val="152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99060" rIns="198120" bIns="99060" numCol="1" spcCol="1270" anchor="ctr" anchorCtr="0">
          <a:noAutofit/>
        </a:bodyPr>
        <a:lstStyle/>
        <a:p>
          <a:pPr marL="285750" lvl="1" indent="-285750" algn="l" defTabSz="2311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5200" kern="1200" dirty="0">
              <a:latin typeface="+mn-lt"/>
            </a:rPr>
            <a:t>Minimum 7 days</a:t>
          </a:r>
        </a:p>
      </dsp:txBody>
      <dsp:txXfrm rot="-5400000">
        <a:off x="3925062" y="1543435"/>
        <a:ext cx="6927261" cy="935854"/>
      </dsp:txXfrm>
    </dsp:sp>
    <dsp:sp modelId="{8177017C-124B-6B4E-9A24-04A498D477A5}">
      <dsp:nvSpPr>
        <dsp:cNvPr id="0" name=""/>
        <dsp:cNvSpPr/>
      </dsp:nvSpPr>
      <dsp:spPr>
        <a:xfrm>
          <a:off x="0" y="1363169"/>
          <a:ext cx="3925062" cy="1296385"/>
        </a:xfrm>
        <a:prstGeom prst="roundRect">
          <a:avLst/>
        </a:prstGeom>
        <a:solidFill>
          <a:schemeClr val="accent2">
            <a:hueOff val="-350189"/>
            <a:satOff val="0"/>
            <a:lumOff val="53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980" tIns="110490" rIns="220980" bIns="110490" numCol="1" spcCol="1270" anchor="ctr" anchorCtr="0">
          <a:noAutofit/>
        </a:bodyPr>
        <a:lstStyle/>
        <a:p>
          <a:pPr marL="0" lvl="0" indent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800" kern="1200" dirty="0">
              <a:latin typeface="+mn-lt"/>
            </a:rPr>
            <a:t>Significant</a:t>
          </a:r>
        </a:p>
      </dsp:txBody>
      <dsp:txXfrm>
        <a:off x="63284" y="1426453"/>
        <a:ext cx="3798494" cy="1169817"/>
      </dsp:txXfrm>
    </dsp:sp>
    <dsp:sp modelId="{3FCE7337-F6AE-8343-830C-AF2784A103AF}">
      <dsp:nvSpPr>
        <dsp:cNvPr id="0" name=""/>
        <dsp:cNvSpPr/>
      </dsp:nvSpPr>
      <dsp:spPr>
        <a:xfrm rot="5400000">
          <a:off x="6895451" y="-116376"/>
          <a:ext cx="1037108" cy="6977888"/>
        </a:xfrm>
        <a:prstGeom prst="round2SameRect">
          <a:avLst/>
        </a:prstGeom>
        <a:solidFill>
          <a:schemeClr val="accent2">
            <a:tint val="40000"/>
            <a:alpha val="90000"/>
            <a:hueOff val="-655715"/>
            <a:satOff val="26167"/>
            <a:lumOff val="3048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655715"/>
              <a:satOff val="26167"/>
              <a:lumOff val="304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99060" rIns="198120" bIns="99060" numCol="1" spcCol="1270" anchor="ctr" anchorCtr="0">
          <a:noAutofit/>
        </a:bodyPr>
        <a:lstStyle/>
        <a:p>
          <a:pPr marL="285750" lvl="1" indent="-285750" algn="l" defTabSz="2311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5200" kern="1200" dirty="0">
              <a:latin typeface="+mn-lt"/>
            </a:rPr>
            <a:t>Minimum 30 days</a:t>
          </a:r>
        </a:p>
      </dsp:txBody>
      <dsp:txXfrm rot="-5400000">
        <a:off x="3925062" y="2904640"/>
        <a:ext cx="6927261" cy="935854"/>
      </dsp:txXfrm>
    </dsp:sp>
    <dsp:sp modelId="{613B55EB-9CD4-6E44-AC7D-64E213E5A849}">
      <dsp:nvSpPr>
        <dsp:cNvPr id="0" name=""/>
        <dsp:cNvSpPr/>
      </dsp:nvSpPr>
      <dsp:spPr>
        <a:xfrm>
          <a:off x="0" y="2724374"/>
          <a:ext cx="3925062" cy="1296385"/>
        </a:xfrm>
        <a:prstGeom prst="roundRect">
          <a:avLst/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980" tIns="110490" rIns="220980" bIns="110490" numCol="1" spcCol="1270" anchor="ctr" anchorCtr="0">
          <a:noAutofit/>
        </a:bodyPr>
        <a:lstStyle/>
        <a:p>
          <a:pPr marL="0" lvl="0" indent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800" kern="1200" dirty="0">
              <a:latin typeface="+mn-lt"/>
            </a:rPr>
            <a:t>Major</a:t>
          </a:r>
        </a:p>
      </dsp:txBody>
      <dsp:txXfrm>
        <a:off x="63284" y="2787658"/>
        <a:ext cx="3798494" cy="116981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92E456-CACE-4545-9070-6398AF314809}">
      <dsp:nvSpPr>
        <dsp:cNvPr id="0" name=""/>
        <dsp:cNvSpPr/>
      </dsp:nvSpPr>
      <dsp:spPr>
        <a:xfrm>
          <a:off x="2488832" y="998"/>
          <a:ext cx="1692938" cy="84646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n-lt"/>
            </a:rPr>
            <a:t>Normal*</a:t>
          </a:r>
        </a:p>
      </dsp:txBody>
      <dsp:txXfrm>
        <a:off x="2513624" y="25790"/>
        <a:ext cx="1643354" cy="796885"/>
      </dsp:txXfrm>
    </dsp:sp>
    <dsp:sp modelId="{80DE5084-8755-D34A-8A40-8679A7FDAA97}">
      <dsp:nvSpPr>
        <dsp:cNvPr id="0" name=""/>
        <dsp:cNvSpPr/>
      </dsp:nvSpPr>
      <dsp:spPr>
        <a:xfrm>
          <a:off x="2658126" y="847467"/>
          <a:ext cx="169293" cy="6348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4851"/>
              </a:lnTo>
              <a:lnTo>
                <a:pt x="169293" y="634851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A6CD69-3843-8A40-A324-916683E32540}">
      <dsp:nvSpPr>
        <dsp:cNvPr id="0" name=""/>
        <dsp:cNvSpPr/>
      </dsp:nvSpPr>
      <dsp:spPr>
        <a:xfrm>
          <a:off x="2827420" y="1059084"/>
          <a:ext cx="1354350" cy="8464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n-lt"/>
            </a:rPr>
            <a:t>Mino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I Owner &amp; Manager</a:t>
          </a:r>
        </a:p>
      </dsp:txBody>
      <dsp:txXfrm>
        <a:off x="2852212" y="1083876"/>
        <a:ext cx="1304766" cy="796885"/>
      </dsp:txXfrm>
    </dsp:sp>
    <dsp:sp modelId="{EC76B473-4034-C24B-BC50-161698DFFA8E}">
      <dsp:nvSpPr>
        <dsp:cNvPr id="0" name=""/>
        <dsp:cNvSpPr/>
      </dsp:nvSpPr>
      <dsp:spPr>
        <a:xfrm>
          <a:off x="2658126" y="847467"/>
          <a:ext cx="169293" cy="16929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2938"/>
              </a:lnTo>
              <a:lnTo>
                <a:pt x="169293" y="169293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55A70F-6DB8-DD4E-8DE0-47DEC7E4B8D7}">
      <dsp:nvSpPr>
        <dsp:cNvPr id="0" name=""/>
        <dsp:cNvSpPr/>
      </dsp:nvSpPr>
      <dsp:spPr>
        <a:xfrm>
          <a:off x="2827420" y="2117171"/>
          <a:ext cx="1354350" cy="8464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87547"/>
              <a:satOff val="0"/>
              <a:lumOff val="134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n-lt"/>
            </a:rPr>
            <a:t>Significant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I Owner &amp; Manage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IS VP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CB</a:t>
          </a:r>
        </a:p>
      </dsp:txBody>
      <dsp:txXfrm>
        <a:off x="2852212" y="2141963"/>
        <a:ext cx="1304766" cy="796885"/>
      </dsp:txXfrm>
    </dsp:sp>
    <dsp:sp modelId="{DBAF2BA4-2257-3F46-9341-45BFD8C6F294}">
      <dsp:nvSpPr>
        <dsp:cNvPr id="0" name=""/>
        <dsp:cNvSpPr/>
      </dsp:nvSpPr>
      <dsp:spPr>
        <a:xfrm>
          <a:off x="2658126" y="847467"/>
          <a:ext cx="169293" cy="27510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51025"/>
              </a:lnTo>
              <a:lnTo>
                <a:pt x="169293" y="2751025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28E7FF-E31C-C043-9871-3CEBF96318E6}">
      <dsp:nvSpPr>
        <dsp:cNvPr id="0" name=""/>
        <dsp:cNvSpPr/>
      </dsp:nvSpPr>
      <dsp:spPr>
        <a:xfrm>
          <a:off x="2827420" y="3175257"/>
          <a:ext cx="1354350" cy="8464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75095"/>
              <a:satOff val="0"/>
              <a:lumOff val="269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j-lt"/>
            </a:rPr>
            <a:t>Majo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I Owner &amp; Manage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IS VP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CB</a:t>
          </a:r>
        </a:p>
      </dsp:txBody>
      <dsp:txXfrm>
        <a:off x="2852212" y="3200049"/>
        <a:ext cx="1304766" cy="796885"/>
      </dsp:txXfrm>
    </dsp:sp>
    <dsp:sp modelId="{0BAD0218-A86B-F245-8FB1-F2E8167BA360}">
      <dsp:nvSpPr>
        <dsp:cNvPr id="0" name=""/>
        <dsp:cNvSpPr/>
      </dsp:nvSpPr>
      <dsp:spPr>
        <a:xfrm>
          <a:off x="4605005" y="998"/>
          <a:ext cx="1692938" cy="846469"/>
        </a:xfrm>
        <a:prstGeom prst="roundRect">
          <a:avLst>
            <a:gd name="adj" fmla="val 10000"/>
          </a:avLst>
        </a:prstGeom>
        <a:solidFill>
          <a:schemeClr val="accent2">
            <a:hueOff val="-350189"/>
            <a:satOff val="0"/>
            <a:lumOff val="53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n-lt"/>
            </a:rPr>
            <a:t>Expedited*</a:t>
          </a:r>
        </a:p>
      </dsp:txBody>
      <dsp:txXfrm>
        <a:off x="4629797" y="25790"/>
        <a:ext cx="1643354" cy="796885"/>
      </dsp:txXfrm>
    </dsp:sp>
    <dsp:sp modelId="{7E9853B6-6A03-F44C-BF69-6BD297787D11}">
      <dsp:nvSpPr>
        <dsp:cNvPr id="0" name=""/>
        <dsp:cNvSpPr/>
      </dsp:nvSpPr>
      <dsp:spPr>
        <a:xfrm>
          <a:off x="4774299" y="847467"/>
          <a:ext cx="169293" cy="6348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4851"/>
              </a:lnTo>
              <a:lnTo>
                <a:pt x="169293" y="634851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5DE7ED-EDC6-DE42-98B7-0A5C9145FD97}">
      <dsp:nvSpPr>
        <dsp:cNvPr id="0" name=""/>
        <dsp:cNvSpPr/>
      </dsp:nvSpPr>
      <dsp:spPr>
        <a:xfrm>
          <a:off x="4943593" y="1059084"/>
          <a:ext cx="1354350" cy="8464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262642"/>
              <a:satOff val="0"/>
              <a:lumOff val="404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n-lt"/>
            </a:rPr>
            <a:t>Mino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I Owner &amp; Manager</a:t>
          </a:r>
        </a:p>
      </dsp:txBody>
      <dsp:txXfrm>
        <a:off x="4968385" y="1083876"/>
        <a:ext cx="1304766" cy="796885"/>
      </dsp:txXfrm>
    </dsp:sp>
    <dsp:sp modelId="{C2E97058-FE3B-A74E-8910-5381DB47B2B0}">
      <dsp:nvSpPr>
        <dsp:cNvPr id="0" name=""/>
        <dsp:cNvSpPr/>
      </dsp:nvSpPr>
      <dsp:spPr>
        <a:xfrm>
          <a:off x="4774299" y="847467"/>
          <a:ext cx="169293" cy="16929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2938"/>
              </a:lnTo>
              <a:lnTo>
                <a:pt x="169293" y="169293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990566-9713-274E-93F3-31CEB23232CD}">
      <dsp:nvSpPr>
        <dsp:cNvPr id="0" name=""/>
        <dsp:cNvSpPr/>
      </dsp:nvSpPr>
      <dsp:spPr>
        <a:xfrm>
          <a:off x="4943593" y="2117171"/>
          <a:ext cx="1354350" cy="8464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350189"/>
              <a:satOff val="0"/>
              <a:lumOff val="53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n-lt"/>
            </a:rPr>
            <a:t>Significant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I Owner &amp; Manage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IS VP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CB</a:t>
          </a:r>
        </a:p>
      </dsp:txBody>
      <dsp:txXfrm>
        <a:off x="4968385" y="2141963"/>
        <a:ext cx="1304766" cy="796885"/>
      </dsp:txXfrm>
    </dsp:sp>
    <dsp:sp modelId="{6A95AA93-E2F3-E246-92BD-EDA7A032046B}">
      <dsp:nvSpPr>
        <dsp:cNvPr id="0" name=""/>
        <dsp:cNvSpPr/>
      </dsp:nvSpPr>
      <dsp:spPr>
        <a:xfrm>
          <a:off x="4774299" y="847467"/>
          <a:ext cx="169293" cy="27510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51025"/>
              </a:lnTo>
              <a:lnTo>
                <a:pt x="169293" y="2751025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F53404-EE8D-A348-9C16-921EE496B565}">
      <dsp:nvSpPr>
        <dsp:cNvPr id="0" name=""/>
        <dsp:cNvSpPr/>
      </dsp:nvSpPr>
      <dsp:spPr>
        <a:xfrm>
          <a:off x="4943593" y="3175257"/>
          <a:ext cx="1354350" cy="8464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437737"/>
              <a:satOff val="0"/>
              <a:lumOff val="67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n-lt"/>
            </a:rPr>
            <a:t>Majo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I Owner &amp; Manage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IS VP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CB</a:t>
          </a:r>
        </a:p>
      </dsp:txBody>
      <dsp:txXfrm>
        <a:off x="4968385" y="3200049"/>
        <a:ext cx="1304766" cy="796885"/>
      </dsp:txXfrm>
    </dsp:sp>
    <dsp:sp modelId="{0C11D4A3-AB44-B34A-BC17-5B385D75D1F9}">
      <dsp:nvSpPr>
        <dsp:cNvPr id="0" name=""/>
        <dsp:cNvSpPr/>
      </dsp:nvSpPr>
      <dsp:spPr>
        <a:xfrm>
          <a:off x="6721178" y="998"/>
          <a:ext cx="1692938" cy="846469"/>
        </a:xfrm>
        <a:prstGeom prst="roundRect">
          <a:avLst>
            <a:gd name="adj" fmla="val 10000"/>
          </a:avLst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+mj-lt"/>
            </a:rPr>
            <a:t>Emergency*</a:t>
          </a:r>
        </a:p>
      </dsp:txBody>
      <dsp:txXfrm>
        <a:off x="6745970" y="25790"/>
        <a:ext cx="1643354" cy="796885"/>
      </dsp:txXfrm>
    </dsp:sp>
    <dsp:sp modelId="{E208B1FB-C71B-BD4C-8FD0-C18B50036A3A}">
      <dsp:nvSpPr>
        <dsp:cNvPr id="0" name=""/>
        <dsp:cNvSpPr/>
      </dsp:nvSpPr>
      <dsp:spPr>
        <a:xfrm>
          <a:off x="6890472" y="847467"/>
          <a:ext cx="169293" cy="6348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4851"/>
              </a:lnTo>
              <a:lnTo>
                <a:pt x="169293" y="634851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89C66C-AEA8-B54C-B36B-08D3DB650457}">
      <dsp:nvSpPr>
        <dsp:cNvPr id="0" name=""/>
        <dsp:cNvSpPr/>
      </dsp:nvSpPr>
      <dsp:spPr>
        <a:xfrm>
          <a:off x="7059766" y="1059084"/>
          <a:ext cx="1354350" cy="8464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525284"/>
              <a:satOff val="0"/>
              <a:lumOff val="808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n-lt"/>
            </a:rPr>
            <a:t>Mino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I Owner &amp; Manage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Emergency CCB</a:t>
          </a:r>
        </a:p>
      </dsp:txBody>
      <dsp:txXfrm>
        <a:off x="7084558" y="1083876"/>
        <a:ext cx="1304766" cy="796885"/>
      </dsp:txXfrm>
    </dsp:sp>
    <dsp:sp modelId="{665F752E-91F4-E447-8EF9-2FF654EC3A0A}">
      <dsp:nvSpPr>
        <dsp:cNvPr id="0" name=""/>
        <dsp:cNvSpPr/>
      </dsp:nvSpPr>
      <dsp:spPr>
        <a:xfrm>
          <a:off x="6890472" y="847467"/>
          <a:ext cx="169293" cy="16929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2938"/>
              </a:lnTo>
              <a:lnTo>
                <a:pt x="169293" y="1692938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2EF3FD-8A7B-2547-BED5-352873207F5A}">
      <dsp:nvSpPr>
        <dsp:cNvPr id="0" name=""/>
        <dsp:cNvSpPr/>
      </dsp:nvSpPr>
      <dsp:spPr>
        <a:xfrm>
          <a:off x="7059766" y="2117171"/>
          <a:ext cx="1354350" cy="8464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612831"/>
              <a:satOff val="0"/>
              <a:lumOff val="94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n-lt"/>
            </a:rPr>
            <a:t>Significant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I Owner &amp; Manage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Emergency CCB</a:t>
          </a:r>
        </a:p>
      </dsp:txBody>
      <dsp:txXfrm>
        <a:off x="7084558" y="2141963"/>
        <a:ext cx="1304766" cy="796885"/>
      </dsp:txXfrm>
    </dsp:sp>
    <dsp:sp modelId="{31F77E78-2C91-994E-A1E1-92B382A028D7}">
      <dsp:nvSpPr>
        <dsp:cNvPr id="0" name=""/>
        <dsp:cNvSpPr/>
      </dsp:nvSpPr>
      <dsp:spPr>
        <a:xfrm>
          <a:off x="6890472" y="847467"/>
          <a:ext cx="169293" cy="27510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51025"/>
              </a:lnTo>
              <a:lnTo>
                <a:pt x="169293" y="2751025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239DB9-3EB8-D241-8152-A0472DC93422}">
      <dsp:nvSpPr>
        <dsp:cNvPr id="0" name=""/>
        <dsp:cNvSpPr/>
      </dsp:nvSpPr>
      <dsp:spPr>
        <a:xfrm>
          <a:off x="7059766" y="3175257"/>
          <a:ext cx="1354350" cy="84646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700378"/>
              <a:satOff val="0"/>
              <a:lumOff val="1078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n-lt"/>
            </a:rPr>
            <a:t>Majo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CI Owner &amp; Manager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b="0" kern="1200" dirty="0">
              <a:latin typeface="+mn-lt"/>
            </a:rPr>
            <a:t>Emergency CCB</a:t>
          </a:r>
        </a:p>
      </dsp:txBody>
      <dsp:txXfrm>
        <a:off x="7084558" y="3200049"/>
        <a:ext cx="1304766" cy="79688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8C46E5-C2EF-3E48-8075-D685A02C71CF}">
      <dsp:nvSpPr>
        <dsp:cNvPr id="0" name=""/>
        <dsp:cNvSpPr/>
      </dsp:nvSpPr>
      <dsp:spPr>
        <a:xfrm>
          <a:off x="817721" y="0"/>
          <a:ext cx="9267507" cy="4022725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1F35C9-9847-6F42-A508-D68A8ABB34E6}">
      <dsp:nvSpPr>
        <dsp:cNvPr id="0" name=""/>
        <dsp:cNvSpPr/>
      </dsp:nvSpPr>
      <dsp:spPr>
        <a:xfrm>
          <a:off x="3775" y="1206817"/>
          <a:ext cx="1730942" cy="160909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Draft</a:t>
          </a:r>
        </a:p>
      </dsp:txBody>
      <dsp:txXfrm>
        <a:off x="82324" y="1285366"/>
        <a:ext cx="1573844" cy="1451992"/>
      </dsp:txXfrm>
    </dsp:sp>
    <dsp:sp modelId="{B98A56B3-77E7-0045-85A8-D64C1EB3749C}">
      <dsp:nvSpPr>
        <dsp:cNvPr id="0" name=""/>
        <dsp:cNvSpPr/>
      </dsp:nvSpPr>
      <dsp:spPr>
        <a:xfrm>
          <a:off x="1836667" y="1206817"/>
          <a:ext cx="1730942" cy="1609090"/>
        </a:xfrm>
        <a:prstGeom prst="roundRect">
          <a:avLst/>
        </a:prstGeom>
        <a:solidFill>
          <a:schemeClr val="accent2">
            <a:hueOff val="-140076"/>
            <a:satOff val="0"/>
            <a:lumOff val="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Awaiting Approval</a:t>
          </a:r>
        </a:p>
      </dsp:txBody>
      <dsp:txXfrm>
        <a:off x="1915216" y="1285366"/>
        <a:ext cx="1573844" cy="1451992"/>
      </dsp:txXfrm>
    </dsp:sp>
    <dsp:sp modelId="{82F02776-1A37-4B40-AF1F-274095A6999D}">
      <dsp:nvSpPr>
        <dsp:cNvPr id="0" name=""/>
        <dsp:cNvSpPr/>
      </dsp:nvSpPr>
      <dsp:spPr>
        <a:xfrm>
          <a:off x="3669558" y="1206817"/>
          <a:ext cx="1730942" cy="1609090"/>
        </a:xfrm>
        <a:prstGeom prst="roundRect">
          <a:avLst/>
        </a:prstGeom>
        <a:solidFill>
          <a:schemeClr val="accent2">
            <a:hueOff val="-280151"/>
            <a:satOff val="0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Awaiting Implementation</a:t>
          </a:r>
        </a:p>
      </dsp:txBody>
      <dsp:txXfrm>
        <a:off x="3748107" y="1285366"/>
        <a:ext cx="1573844" cy="1451992"/>
      </dsp:txXfrm>
    </dsp:sp>
    <dsp:sp modelId="{C43BAD94-8EB3-714B-814F-01C7A44D21D8}">
      <dsp:nvSpPr>
        <dsp:cNvPr id="0" name=""/>
        <dsp:cNvSpPr/>
      </dsp:nvSpPr>
      <dsp:spPr>
        <a:xfrm>
          <a:off x="5502449" y="1206817"/>
          <a:ext cx="1730942" cy="1609090"/>
        </a:xfrm>
        <a:prstGeom prst="roundRect">
          <a:avLst/>
        </a:prstGeom>
        <a:solidFill>
          <a:schemeClr val="accent2">
            <a:hueOff val="-420227"/>
            <a:satOff val="0"/>
            <a:lumOff val="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Implement</a:t>
          </a:r>
        </a:p>
      </dsp:txBody>
      <dsp:txXfrm>
        <a:off x="5580998" y="1285366"/>
        <a:ext cx="1573844" cy="1451992"/>
      </dsp:txXfrm>
    </dsp:sp>
    <dsp:sp modelId="{615A2236-6178-BF4D-BDB8-5739A799E18D}">
      <dsp:nvSpPr>
        <dsp:cNvPr id="0" name=""/>
        <dsp:cNvSpPr/>
      </dsp:nvSpPr>
      <dsp:spPr>
        <a:xfrm>
          <a:off x="7335340" y="1206817"/>
          <a:ext cx="1730942" cy="1609090"/>
        </a:xfrm>
        <a:prstGeom prst="roundRect">
          <a:avLst/>
        </a:prstGeom>
        <a:solidFill>
          <a:schemeClr val="accent2">
            <a:hueOff val="-560303"/>
            <a:satOff val="0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Support</a:t>
          </a:r>
        </a:p>
      </dsp:txBody>
      <dsp:txXfrm>
        <a:off x="7413889" y="1285366"/>
        <a:ext cx="1573844" cy="1451992"/>
      </dsp:txXfrm>
    </dsp:sp>
    <dsp:sp modelId="{F1386C93-2A49-C742-A2BB-32118EC8D9C1}">
      <dsp:nvSpPr>
        <dsp:cNvPr id="0" name=""/>
        <dsp:cNvSpPr/>
      </dsp:nvSpPr>
      <dsp:spPr>
        <a:xfrm>
          <a:off x="9168231" y="1206817"/>
          <a:ext cx="1730942" cy="1609090"/>
        </a:xfrm>
        <a:prstGeom prst="roundRect">
          <a:avLst/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+mn-lt"/>
            </a:rPr>
            <a:t>Close</a:t>
          </a:r>
        </a:p>
      </dsp:txBody>
      <dsp:txXfrm>
        <a:off x="9246780" y="1285366"/>
        <a:ext cx="1573844" cy="145199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0D9BEE-FE10-B741-B687-4E4790F3127D}">
      <dsp:nvSpPr>
        <dsp:cNvPr id="0" name=""/>
        <dsp:cNvSpPr/>
      </dsp:nvSpPr>
      <dsp:spPr>
        <a:xfrm>
          <a:off x="754379" y="0"/>
          <a:ext cx="8549640" cy="2343752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415BB3-6DBF-E74B-9BD2-C61218ABF726}">
      <dsp:nvSpPr>
        <dsp:cNvPr id="0" name=""/>
        <dsp:cNvSpPr/>
      </dsp:nvSpPr>
      <dsp:spPr>
        <a:xfrm>
          <a:off x="329795" y="703125"/>
          <a:ext cx="3017520" cy="9375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+mn-lt"/>
            </a:rPr>
            <a:t>Completed Minor Change</a:t>
          </a:r>
        </a:p>
      </dsp:txBody>
      <dsp:txXfrm>
        <a:off x="375560" y="748890"/>
        <a:ext cx="2925990" cy="845970"/>
      </dsp:txXfrm>
    </dsp:sp>
    <dsp:sp modelId="{D4F2BD24-1679-D944-9011-D04D9DCD70D4}">
      <dsp:nvSpPr>
        <dsp:cNvPr id="0" name=""/>
        <dsp:cNvSpPr/>
      </dsp:nvSpPr>
      <dsp:spPr>
        <a:xfrm>
          <a:off x="3520440" y="703125"/>
          <a:ext cx="3017520" cy="937500"/>
        </a:xfrm>
        <a:prstGeom prst="roundRect">
          <a:avLst/>
        </a:prstGeom>
        <a:solidFill>
          <a:schemeClr val="accent2">
            <a:hueOff val="-350189"/>
            <a:satOff val="0"/>
            <a:lumOff val="53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+mn-lt"/>
            </a:rPr>
            <a:t>Request</a:t>
          </a:r>
        </a:p>
      </dsp:txBody>
      <dsp:txXfrm>
        <a:off x="3566205" y="748890"/>
        <a:ext cx="2925990" cy="845970"/>
      </dsp:txXfrm>
    </dsp:sp>
    <dsp:sp modelId="{11954051-9E0E-2848-825C-8A11FF39BCEB}">
      <dsp:nvSpPr>
        <dsp:cNvPr id="0" name=""/>
        <dsp:cNvSpPr/>
      </dsp:nvSpPr>
      <dsp:spPr>
        <a:xfrm>
          <a:off x="6711084" y="703125"/>
          <a:ext cx="3017520" cy="937500"/>
        </a:xfrm>
        <a:prstGeom prst="roundRect">
          <a:avLst/>
        </a:prstGeom>
        <a:solidFill>
          <a:schemeClr val="accent2">
            <a:hueOff val="-700378"/>
            <a:satOff val="0"/>
            <a:lumOff val="107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+mn-lt"/>
            </a:rPr>
            <a:t>Approval</a:t>
          </a:r>
        </a:p>
      </dsp:txBody>
      <dsp:txXfrm>
        <a:off x="6756849" y="748890"/>
        <a:ext cx="2925990" cy="8459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8A12BA-1FB2-486E-B88E-BDC15A542230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23F421-287B-4EAF-93BE-A009E01329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3786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2725" y="465138"/>
            <a:ext cx="7435850" cy="41830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3402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23F421-287B-4EAF-93BE-A009E013295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2115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23F421-287B-4EAF-93BE-A009E013295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5008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23F421-287B-4EAF-93BE-A009E013295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0127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23F421-287B-4EAF-93BE-A009E013295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1861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23F421-287B-4EAF-93BE-A009E013295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2756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23F421-287B-4EAF-93BE-A009E013295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471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7BEBB3-1401-4108-AAEF-4804E7C9AE8A}" type="datetime1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32736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79F59-ADE2-44C6-A291-02098AF75038}" type="datetime1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3870145-CE1F-344F-83F0-B07E69EE8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2084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BC662F-6581-4BD0-8AE4-8EABF8EBBBC5}" type="datetime1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726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5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460146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B0E3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rgbClr val="46B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2126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9920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384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602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447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140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087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80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285336"/>
            <a:ext cx="10058400" cy="45837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4252B4-7AFF-4FFC-BDDF-E224749BC4B6}" type="datetime1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370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6473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890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767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0836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961414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8189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8801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541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B842A-0615-46A6-B13F-A9B23BFA0C27}" type="datetime1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5067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34"/>
            <a:ext cx="4937760" cy="4023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9FA4D-8A9C-4187-9B8A-018AA71179DF}" type="datetime1">
              <a:rPr lang="en-US" smtClean="0"/>
              <a:t>3/1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441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4DE8FE-5319-4D3E-8FF7-B1ED1BFDADBE}" type="datetime1">
              <a:rPr lang="en-US" smtClean="0"/>
              <a:t>3/1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505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4158F8-2F1C-443D-82DE-F1EE23E8A5A0}" type="datetime1">
              <a:rPr lang="en-US" smtClean="0"/>
              <a:t>3/1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3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52598-3425-41D2-B3D6-BED7E48EE35A}" type="datetime1">
              <a:rPr lang="en-US" smtClean="0"/>
              <a:t>3/1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108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rgbClr val="B0E3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rgbClr val="46B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64C158C9-B4FB-451F-A3AE-0B090C86D1E6}" type="datetime1">
              <a:rPr lang="en-US" smtClean="0"/>
              <a:t>3/1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89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EF808-758F-44DB-BB95-E0B3FF73E406}" type="datetime1">
              <a:rPr lang="en-US" smtClean="0"/>
              <a:t>3/1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030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4"/>
            <a:ext cx="10058400" cy="7658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201609"/>
            <a:ext cx="10058400" cy="4667485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C906C36D-734C-4E35-B558-0C405505E220}" type="datetime1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3986086D-9696-4B79-9BF7-70F04B877B1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88720" y="1142623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4325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700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55666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changemanagement@partners.or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diagramLayout" Target="../diagrams/layout9.xml"/><Relationship Id="rId7" Type="http://schemas.openxmlformats.org/officeDocument/2006/relationships/diagramData" Target="../diagrams/data10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9.xml"/><Relationship Id="rId11" Type="http://schemas.microsoft.com/office/2007/relationships/diagramDrawing" Target="../diagrams/drawing10.xml"/><Relationship Id="rId5" Type="http://schemas.openxmlformats.org/officeDocument/2006/relationships/diagramColors" Target="../diagrams/colors9.xml"/><Relationship Id="rId10" Type="http://schemas.openxmlformats.org/officeDocument/2006/relationships/diagramColors" Target="../diagrams/colors10.xml"/><Relationship Id="rId4" Type="http://schemas.openxmlformats.org/officeDocument/2006/relationships/diagramQuickStyle" Target="../diagrams/quickStyle9.xml"/><Relationship Id="rId9" Type="http://schemas.openxmlformats.org/officeDocument/2006/relationships/diagramQuickStyle" Target="../diagrams/quickStyle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cid:image001.jpg@01D4A693.80469660" TargetMode="Externa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hyperlink" Target="mailto:changeManagement@partners.org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6424" y="2119184"/>
            <a:ext cx="10415016" cy="168090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rgbClr val="3A5783"/>
                </a:solidFill>
              </a:rPr>
              <a:t>IS Change Management Overview Training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F3FD673-BEC9-45BA-8F2E-36E93BF8568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TSM Program</a:t>
            </a:r>
          </a:p>
          <a:p>
            <a:r>
              <a:rPr lang="en-US" dirty="0">
                <a:hlinkClick r:id="rId3"/>
              </a:rPr>
              <a:t>changemanagement@partners.org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BEBCF9-78AB-4EB9-A570-66FDDFB3C0D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&lt;date&gt;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55462-D5A5-EE4C-A2B1-391820C6D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Change Types, Subtypes, Lead-Time, Risk, and Impact</a:t>
            </a:r>
          </a:p>
        </p:txBody>
      </p:sp>
      <p:pic>
        <p:nvPicPr>
          <p:cNvPr id="5" name="Picture 2" descr="C:\Users\pvc\AppData\Local\Temp\SNAGHTML1767afe3.PNG">
            <a:extLst>
              <a:ext uri="{FF2B5EF4-FFF2-40B4-BE49-F238E27FC236}">
                <a16:creationId xmlns:a16="http://schemas.microsoft.com/office/drawing/2014/main" id="{E9638A7B-349A-8249-91D9-52CA8E6B42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489074"/>
            <a:ext cx="9044609" cy="4536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4744B01-6B05-478A-B698-E5EBC17E68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36556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CF227F-D857-2E40-A201-C65AC7C53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Types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1079F0A3-A1C1-C04B-8D39-155CB060BF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03626039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6AD51A49-8F09-421D-A7BE-035B09C892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992662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9D071-058D-884A-B3C5-91CFD01B3A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</a:t>
            </a:r>
          </a:p>
        </p:txBody>
      </p:sp>
      <p:graphicFrame>
        <p:nvGraphicFramePr>
          <p:cNvPr id="5" name="Content Placeholder 5">
            <a:extLst>
              <a:ext uri="{FF2B5EF4-FFF2-40B4-BE49-F238E27FC236}">
                <a16:creationId xmlns:a16="http://schemas.microsoft.com/office/drawing/2014/main" id="{728BF0AA-4DA3-EC4B-9751-159B7BEECDA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95253085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8791FE6C-E09F-482C-9C5A-65BD3AE6BB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509952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1FF0BB-8625-5C4A-AF76-47A252360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</a:t>
            </a:r>
          </a:p>
        </p:txBody>
      </p:sp>
      <p:graphicFrame>
        <p:nvGraphicFramePr>
          <p:cNvPr id="5" name="Content Placeholder 5">
            <a:extLst>
              <a:ext uri="{FF2B5EF4-FFF2-40B4-BE49-F238E27FC236}">
                <a16:creationId xmlns:a16="http://schemas.microsoft.com/office/drawing/2014/main" id="{B310B876-7BD6-AA42-897D-E0E5DC028B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8154245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E99038D3-25A3-4B02-8DBB-6713A4F458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3888003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A904B-C003-E446-8352-572EBB56E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ermining the Change Sub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609D37-42D8-0048-9CCE-4675FD424C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7279" y="1509058"/>
            <a:ext cx="10115203" cy="4461874"/>
          </a:xfrm>
          <a:prstGeom prst="rect">
            <a:avLst/>
          </a:prstGeom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36A38C82-6AFC-48E6-A0D8-C471B5D427D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9527524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BD9910-4DB0-6040-8BBD-6A2250861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d Time for a Normal Change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E8FB1081-8782-9E4F-B38D-A71A8A2FEB8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32059344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7E9775E-4387-A848-9CF9-EDAC0ACAAEB7}"/>
              </a:ext>
            </a:extLst>
          </p:cNvPr>
          <p:cNvSpPr txBox="1"/>
          <p:nvPr/>
        </p:nvSpPr>
        <p:spPr>
          <a:xfrm>
            <a:off x="3112609" y="5813700"/>
            <a:ext cx="7443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d-Time = Change Creation – Start Date of Change 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6C0398C0-7EAE-46DE-989F-29F262D6D9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328615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90444-AF97-C54A-8F1D-FC246E42C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Approval by Type and Subtype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2FB4006D-4F17-F844-8008-205CED48183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6050383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2B9CC4D-D2D8-D447-A060-7622A0DEED09}"/>
              </a:ext>
            </a:extLst>
          </p:cNvPr>
          <p:cNvSpPr txBox="1"/>
          <p:nvPr/>
        </p:nvSpPr>
        <p:spPr bwMode="gray">
          <a:xfrm>
            <a:off x="1743693" y="5853073"/>
            <a:ext cx="10185071" cy="338203"/>
          </a:xfrm>
          <a:prstGeom prst="rect">
            <a:avLst/>
          </a:prstGeom>
          <a:noFill/>
        </p:spPr>
        <p:txBody>
          <a:bodyPr wrap="square" lIns="45720" rIns="45720" spcCol="45720" rtlCol="0">
            <a:noAutofit/>
          </a:bodyPr>
          <a:lstStyle/>
          <a:p>
            <a:pPr algn="l">
              <a:spcBef>
                <a:spcPts val="0"/>
              </a:spcBef>
            </a:pPr>
            <a:r>
              <a:rPr lang="en-US" sz="1400" dirty="0"/>
              <a:t>*All Changes require an exception approval during a freeze.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20A3290C-1D80-4ABE-8A65-840DA67259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449109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34E07-C349-3C4D-A344-0EA97FE87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Workflow for Normal, Expedited, &amp; Emergency Change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B46D8270-6786-C946-9BFD-FF71A358C0A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05750851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0B77ACA7-3201-458D-AB97-F1686BCC38B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4382783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55E8EB-45C4-9D4B-81DA-8BA68BBB0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 for Pre-Approved Change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8132438E-2978-8E42-B8EC-8350E8818B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0477603"/>
              </p:ext>
            </p:extLst>
          </p:nvPr>
        </p:nvGraphicFramePr>
        <p:xfrm>
          <a:off x="1097280" y="1201114"/>
          <a:ext cx="10058400" cy="23437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35058252-F652-EF41-8BCA-D83236CF26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7799141"/>
              </p:ext>
            </p:extLst>
          </p:nvPr>
        </p:nvGraphicFramePr>
        <p:xfrm>
          <a:off x="1097279" y="4020855"/>
          <a:ext cx="10058400" cy="22087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CDE749AC-A69D-4B08-9221-844D0459C6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7519952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C0E4E-AD0E-E54C-982F-57E93F573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Management Meetings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BDA589A0-50D2-F14E-933F-DE644AC5DE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86823918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E1836765-7586-4503-AF73-779E06FCEA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192575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C12F97-F79A-3E48-92BF-C3BC40D2B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BFE4BEA-E669-CA4F-A26C-199B108A9B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2666953"/>
              </p:ext>
            </p:extLst>
          </p:nvPr>
        </p:nvGraphicFramePr>
        <p:xfrm>
          <a:off x="4164496" y="1719263"/>
          <a:ext cx="7364896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3C7CD76-B286-2D42-9F18-32807A97E2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8048" y="1430357"/>
            <a:ext cx="4531595" cy="4531595"/>
          </a:xfrm>
          <a:prstGeom prst="rect">
            <a:avLst/>
          </a:prstGeom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6CDF95A5-154B-4270-9421-A9C0F56723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6988538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CB4FD-F951-894C-A6E2-0E8ACE976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types, Lead times, and Meetings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F47177D9-4C51-C344-BFDB-AC5F3F2496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40586620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4E71E32-6683-164E-B670-5434C10B4880}"/>
              </a:ext>
            </a:extLst>
          </p:cNvPr>
          <p:cNvSpPr txBox="1"/>
          <p:nvPr/>
        </p:nvSpPr>
        <p:spPr bwMode="gray">
          <a:xfrm>
            <a:off x="2460327" y="5814558"/>
            <a:ext cx="7271345" cy="304371"/>
          </a:xfrm>
          <a:prstGeom prst="rect">
            <a:avLst/>
          </a:prstGeom>
          <a:noFill/>
        </p:spPr>
        <p:txBody>
          <a:bodyPr wrap="square" lIns="45720" rIns="45720" spcCol="45720" rtlCol="0">
            <a:noAutofit/>
          </a:bodyPr>
          <a:lstStyle/>
          <a:p>
            <a:r>
              <a:rPr lang="en-US" sz="1400" dirty="0"/>
              <a:t>* The change type is automatically calculated by change subtype &amp; lead time. 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6175D266-F9C2-4BEA-9CAA-4EA894A0AD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6534677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FA6E8-4803-4114-8C42-CA7150AC5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Complianc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82276C09-9007-4EF6-80B3-5287FD0D752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76123" y="1717675"/>
            <a:ext cx="10084911" cy="40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47C707C9-64CC-4AAC-AE68-A6EEE28262B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7388235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C17DD-AF3C-7541-8564-C54C96899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dirty="0"/>
              <a:t>What is a Change Freeze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EF080-F916-334A-B85C-174C97ECABFB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40080" y="4452938"/>
            <a:ext cx="11551920" cy="1143000"/>
          </a:xfrm>
        </p:spPr>
        <p:txBody>
          <a:bodyPr/>
          <a:lstStyle/>
          <a:p>
            <a:r>
              <a:rPr lang="en-US" sz="2000" dirty="0"/>
              <a:t>A Change Freeze is a period of time when changes are restrict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2650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F4477-75FA-E442-BD5D-9DD3FC7ED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Freeze Types</a:t>
            </a:r>
          </a:p>
        </p:txBody>
      </p:sp>
      <p:graphicFrame>
        <p:nvGraphicFramePr>
          <p:cNvPr id="5" name="Content Placeholder 5">
            <a:extLst>
              <a:ext uri="{FF2B5EF4-FFF2-40B4-BE49-F238E27FC236}">
                <a16:creationId xmlns:a16="http://schemas.microsoft.com/office/drawing/2014/main" id="{4EFFBBF3-31CF-0D48-9761-901BF0D771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6909605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454F9F38-BFDF-46EF-976C-83FDD8AFDAA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6399303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0F24A-AD5A-A84C-9056-7E4BCAAAE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Freeze Periods</a:t>
            </a:r>
          </a:p>
        </p:txBody>
      </p:sp>
      <p:graphicFrame>
        <p:nvGraphicFramePr>
          <p:cNvPr id="5" name="Content Placeholder 5">
            <a:extLst>
              <a:ext uri="{FF2B5EF4-FFF2-40B4-BE49-F238E27FC236}">
                <a16:creationId xmlns:a16="http://schemas.microsoft.com/office/drawing/2014/main" id="{E828DA5B-0D5B-4943-9BEE-AE029C70203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2247591"/>
              </p:ext>
            </p:extLst>
          </p:nvPr>
        </p:nvGraphicFramePr>
        <p:xfrm>
          <a:off x="641350" y="1719263"/>
          <a:ext cx="1090295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5CE14E5-ECE3-49D9-AFD5-5BD9781876B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8351147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8FCA5-8F67-D749-81B8-5A498E595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Awards</a:t>
            </a:r>
          </a:p>
        </p:txBody>
      </p:sp>
      <p:pic>
        <p:nvPicPr>
          <p:cNvPr id="5" name="Picture 6" descr="cid:image001.jpg@01D4A693.80469660">
            <a:extLst>
              <a:ext uri="{FF2B5EF4-FFF2-40B4-BE49-F238E27FC236}">
                <a16:creationId xmlns:a16="http://schemas.microsoft.com/office/drawing/2014/main" id="{4DC41085-781C-964C-9949-BCB5BD9DF8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857" y="1753132"/>
            <a:ext cx="1637515" cy="3351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ECE94F1-B91D-6840-90AC-BDFE679FC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7837" y="2303072"/>
            <a:ext cx="2252621" cy="280051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CAD0C7B-0F64-0147-A2B5-650585681772}"/>
              </a:ext>
            </a:extLst>
          </p:cNvPr>
          <p:cNvSpPr txBox="1"/>
          <p:nvPr/>
        </p:nvSpPr>
        <p:spPr bwMode="gray">
          <a:xfrm>
            <a:off x="1939578" y="5104867"/>
            <a:ext cx="3039929" cy="430770"/>
          </a:xfrm>
          <a:prstGeom prst="rect">
            <a:avLst/>
          </a:prstGeom>
          <a:noFill/>
        </p:spPr>
        <p:txBody>
          <a:bodyPr wrap="square" lIns="45720" rIns="45720" spcCol="45720" rtlCol="0">
            <a:noAutofit/>
          </a:bodyPr>
          <a:lstStyle/>
          <a:p>
            <a:r>
              <a:rPr lang="en-US" b="1" dirty="0"/>
              <a:t>Perfectly Normal Awar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D84CB2-BB15-F64A-99E4-19667EEB945A}"/>
              </a:ext>
            </a:extLst>
          </p:cNvPr>
          <p:cNvSpPr txBox="1"/>
          <p:nvPr/>
        </p:nvSpPr>
        <p:spPr bwMode="gray">
          <a:xfrm>
            <a:off x="7207327" y="5103591"/>
            <a:ext cx="3133639" cy="430770"/>
          </a:xfrm>
          <a:prstGeom prst="rect">
            <a:avLst/>
          </a:prstGeom>
          <a:noFill/>
        </p:spPr>
        <p:txBody>
          <a:bodyPr wrap="square" lIns="45720" rIns="45720" spcCol="45720" rtlCol="0">
            <a:noAutofit/>
          </a:bodyPr>
          <a:lstStyle/>
          <a:p>
            <a:pPr algn="ctr"/>
            <a:r>
              <a:rPr lang="en-US" b="1" dirty="0"/>
              <a:t>Perfectly Written Awar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ABD97AD6-94D6-45D7-BEF2-6F8E2B1B69B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9959111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C64582B-ADD6-434C-984F-DE7558487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1552493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rgbClr val="3A5783"/>
                </a:solidFill>
                <a:latin typeface="Georgia" panose="02040502050405020303" pitchFamily="18" charset="0"/>
              </a:rPr>
              <a:t>Questions?</a:t>
            </a:r>
          </a:p>
        </p:txBody>
      </p:sp>
      <p:pic>
        <p:nvPicPr>
          <p:cNvPr id="8194" name="Picture 2" descr="Workshop: Funding Your Undergraduate Research - UVM Bored">
            <a:extLst>
              <a:ext uri="{FF2B5EF4-FFF2-40B4-BE49-F238E27FC236}">
                <a16:creationId xmlns:a16="http://schemas.microsoft.com/office/drawing/2014/main" id="{370340C9-AA0F-40FC-9279-77A80320782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3468757"/>
            <a:ext cx="4039328" cy="3418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89C396-6BF6-4BF1-BE26-58B98CD126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2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A7F5F0-AF4E-1C44-A77B-BFC911467C43}"/>
              </a:ext>
            </a:extLst>
          </p:cNvPr>
          <p:cNvSpPr txBox="1"/>
          <p:nvPr/>
        </p:nvSpPr>
        <p:spPr>
          <a:xfrm>
            <a:off x="5865200" y="1890117"/>
            <a:ext cx="4691270" cy="273921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endParaRPr lang="en-US" sz="4000" b="1" dirty="0"/>
          </a:p>
          <a:p>
            <a:pPr algn="ctr"/>
            <a:r>
              <a:rPr lang="en-US" sz="6000" b="1" dirty="0"/>
              <a:t>Thank you!</a:t>
            </a:r>
            <a:endParaRPr lang="en-US" sz="6000" b="1" dirty="0">
              <a:cs typeface="Calibri"/>
            </a:endParaRPr>
          </a:p>
          <a:p>
            <a:pPr algn="ctr"/>
            <a:endParaRPr lang="en-US" dirty="0"/>
          </a:p>
          <a:p>
            <a:pPr algn="ctr"/>
            <a:r>
              <a:rPr lang="en-US" dirty="0">
                <a:cs typeface="Calibri"/>
              </a:rPr>
              <a:t>ITSM Program</a:t>
            </a:r>
          </a:p>
          <a:p>
            <a:pPr algn="ctr"/>
            <a:r>
              <a:rPr lang="en-US" dirty="0">
                <a:solidFill>
                  <a:schemeClr val="accent2"/>
                </a:solidFill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angeManagement@partners.org</a:t>
            </a:r>
            <a:endParaRPr lang="en-US" dirty="0">
              <a:solidFill>
                <a:schemeClr val="accent2"/>
              </a:solidFill>
              <a:cs typeface="Calibri"/>
            </a:endParaRPr>
          </a:p>
          <a:p>
            <a:pPr algn="ctr"/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669646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6438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51B7E-6EB7-2E4B-AD4A-F18A591A0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u="sng" dirty="0">
                <a:solidFill>
                  <a:srgbClr val="3A5783"/>
                </a:solidFill>
                <a:latin typeface="Georgia" panose="02040502050405020303" pitchFamily="18" charset="0"/>
              </a:rPr>
              <a:t>H</a:t>
            </a:r>
            <a:r>
              <a:rPr lang="en-US" dirty="0">
                <a:solidFill>
                  <a:srgbClr val="3A5783"/>
                </a:solidFill>
                <a:latin typeface="Georgia" panose="02040502050405020303" pitchFamily="18" charset="0"/>
              </a:rPr>
              <a:t>igh </a:t>
            </a:r>
            <a:br>
              <a:rPr lang="en-US" dirty="0">
                <a:solidFill>
                  <a:srgbClr val="3A5783"/>
                </a:solidFill>
                <a:latin typeface="Georgia" panose="02040502050405020303" pitchFamily="18" charset="0"/>
              </a:rPr>
            </a:br>
            <a:r>
              <a:rPr lang="en-US" u="sng" dirty="0">
                <a:solidFill>
                  <a:srgbClr val="3A5783"/>
                </a:solidFill>
                <a:latin typeface="Georgia" panose="02040502050405020303" pitchFamily="18" charset="0"/>
              </a:rPr>
              <a:t>R</a:t>
            </a:r>
            <a:r>
              <a:rPr lang="en-US" dirty="0">
                <a:solidFill>
                  <a:srgbClr val="3A5783"/>
                </a:solidFill>
                <a:latin typeface="Georgia" panose="02040502050405020303" pitchFamily="18" charset="0"/>
              </a:rPr>
              <a:t>eliability </a:t>
            </a:r>
            <a:r>
              <a:rPr lang="en-US" u="sng" dirty="0">
                <a:solidFill>
                  <a:srgbClr val="3A5783"/>
                </a:solidFill>
                <a:latin typeface="Georgia" panose="02040502050405020303" pitchFamily="18" charset="0"/>
              </a:rPr>
              <a:t>O</a:t>
            </a:r>
            <a:r>
              <a:rPr lang="en-US" dirty="0">
                <a:solidFill>
                  <a:srgbClr val="3A5783"/>
                </a:solidFill>
                <a:latin typeface="Georgia" panose="02040502050405020303" pitchFamily="18" charset="0"/>
              </a:rPr>
              <a:t>rganiz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7F3CB0-C0EA-8441-8F99-51E4183BF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3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CF4674-EDEC-B549-BA08-DD3BF227B6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0600" y="594359"/>
            <a:ext cx="6492240" cy="4613745"/>
          </a:xfrm>
        </p:spPr>
        <p:txBody>
          <a:bodyPr>
            <a:normAutofit lnSpcReduction="10000"/>
          </a:bodyPr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2800" dirty="0"/>
              <a:t> A cultural shift to focus on:</a:t>
            </a:r>
          </a:p>
          <a:p>
            <a:pPr lvl="3">
              <a:buClrTx/>
              <a:buFont typeface="Palatino Linotype" panose="02040502050505030304" pitchFamily="18" charset="0"/>
              <a:buChar char="−"/>
            </a:pPr>
            <a:r>
              <a:rPr lang="en-US" sz="2600" dirty="0"/>
              <a:t>Error prevention</a:t>
            </a:r>
          </a:p>
          <a:p>
            <a:pPr lvl="3">
              <a:buClrTx/>
              <a:buFont typeface="Palatino Linotype" panose="02040502050505030304" pitchFamily="18" charset="0"/>
              <a:buChar char="−"/>
            </a:pPr>
            <a:r>
              <a:rPr lang="en-US" sz="2600" dirty="0"/>
              <a:t>Transparency</a:t>
            </a:r>
          </a:p>
          <a:p>
            <a:pPr lvl="3">
              <a:buClrTx/>
              <a:buFont typeface="Palatino Linotype" panose="02040502050505030304" pitchFamily="18" charset="0"/>
              <a:buChar char="−"/>
            </a:pPr>
            <a:r>
              <a:rPr lang="en-US" sz="2600" dirty="0"/>
              <a:t>Situational Awareness</a:t>
            </a:r>
          </a:p>
          <a:p>
            <a:pPr marL="201168" lvl="1" indent="0">
              <a:buNone/>
            </a:pPr>
            <a:endParaRPr lang="en-US" sz="2800" dirty="0"/>
          </a:p>
          <a:p>
            <a:pPr marL="169863" indent="-169863">
              <a:buClrTx/>
              <a:buFont typeface="Arial" panose="020B0604020202020204" pitchFamily="34" charset="0"/>
              <a:buChar char="•"/>
            </a:pPr>
            <a:r>
              <a:rPr lang="en-US" sz="2800" dirty="0"/>
              <a:t>Five Principals</a:t>
            </a:r>
          </a:p>
          <a:p>
            <a:pPr marL="989838" lvl="2" indent="-514350">
              <a:buClrTx/>
              <a:buFont typeface="+mj-lt"/>
              <a:buAutoNum type="arabicPeriod"/>
            </a:pPr>
            <a:r>
              <a:rPr lang="en-US" sz="2600" dirty="0"/>
              <a:t>Preoccupation with Failure</a:t>
            </a:r>
          </a:p>
          <a:p>
            <a:pPr marL="989838" lvl="2" indent="-514350">
              <a:buClrTx/>
              <a:buFont typeface="+mj-lt"/>
              <a:buAutoNum type="arabicPeriod"/>
            </a:pPr>
            <a:r>
              <a:rPr lang="en-US" sz="2600" dirty="0"/>
              <a:t>Reluctance to Simplify Interpretations</a:t>
            </a:r>
          </a:p>
          <a:p>
            <a:pPr marL="989838" lvl="2" indent="-514350">
              <a:buClrTx/>
              <a:buFont typeface="+mj-lt"/>
              <a:buAutoNum type="arabicPeriod"/>
            </a:pPr>
            <a:r>
              <a:rPr lang="en-US" sz="2600" dirty="0"/>
              <a:t>Sensitivity to Operations</a:t>
            </a:r>
          </a:p>
          <a:p>
            <a:pPr marL="989838" lvl="2" indent="-514350">
              <a:buClrTx/>
              <a:buFont typeface="+mj-lt"/>
              <a:buAutoNum type="arabicPeriod"/>
            </a:pPr>
            <a:r>
              <a:rPr lang="en-US" sz="2600" dirty="0"/>
              <a:t>Commitment to Resiliency</a:t>
            </a:r>
          </a:p>
          <a:p>
            <a:pPr marL="989838" lvl="2" indent="-514350">
              <a:buClrTx/>
              <a:buFont typeface="+mj-lt"/>
              <a:buAutoNum type="arabicPeriod"/>
            </a:pPr>
            <a:r>
              <a:rPr lang="en-US" sz="2600" dirty="0"/>
              <a:t>Communication at All Levels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AutoShape 2" descr="The 5 Essential Traits of High Reliability in Healthcare">
            <a:extLst>
              <a:ext uri="{FF2B5EF4-FFF2-40B4-BE49-F238E27FC236}">
                <a16:creationId xmlns:a16="http://schemas.microsoft.com/office/drawing/2014/main" id="{8CEF04B3-A570-9B4D-80C8-B839210E43D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91000" y="2355850"/>
            <a:ext cx="38100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6" descr="The 5 Essential Traits of High Reliability in Healthcare">
            <a:extLst>
              <a:ext uri="{FF2B5EF4-FFF2-40B4-BE49-F238E27FC236}">
                <a16:creationId xmlns:a16="http://schemas.microsoft.com/office/drawing/2014/main" id="{3134A08A-F113-5047-8DD8-7FFCF05CD53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4117341"/>
            <a:ext cx="38100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2DF377-B3A8-7146-82A9-21B2BFAEBCCB}"/>
              </a:ext>
            </a:extLst>
          </p:cNvPr>
          <p:cNvSpPr txBox="1"/>
          <p:nvPr/>
        </p:nvSpPr>
        <p:spPr>
          <a:xfrm>
            <a:off x="4442788" y="5425446"/>
            <a:ext cx="671553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u="sng" dirty="0"/>
              <a:t>Goal</a:t>
            </a:r>
            <a:r>
              <a:rPr lang="en-US" sz="2200" dirty="0"/>
              <a:t>: Zero serious events of preventable harm.  An enterprise wide commitment to do things Right, the First time, Every time</a:t>
            </a:r>
          </a:p>
        </p:txBody>
      </p:sp>
      <p:pic>
        <p:nvPicPr>
          <p:cNvPr id="1028" name="Picture 4" descr="Episode 86 | High reliability organizations - Situational Awareness  Matters!™">
            <a:extLst>
              <a:ext uri="{FF2B5EF4-FFF2-40B4-BE49-F238E27FC236}">
                <a16:creationId xmlns:a16="http://schemas.microsoft.com/office/drawing/2014/main" id="{C4388C68-6388-D24C-9E94-119274F162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699" y="3429000"/>
            <a:ext cx="3615301" cy="2530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0314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D3BA46-2664-B54A-A952-E1C9A0EA9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964" y="2471530"/>
            <a:ext cx="3006027" cy="337931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3A5783"/>
                </a:solidFill>
                <a:latin typeface="Georgia" panose="02040502050405020303" pitchFamily="18" charset="0"/>
              </a:rPr>
              <a:t>Our Mis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15EBDA-12D8-DD41-B616-323F4FFB0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815E-891E-45F0-A09A-B54C6F61F4DB}" type="slidenum">
              <a:rPr lang="en-US" smtClean="0"/>
              <a:t>4</a:t>
            </a:fld>
            <a:endParaRPr lang="en-US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8F820A1E-1FC2-E84C-9675-56E448BC2B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1028" t="1798" r="70930" b="61115"/>
          <a:stretch>
            <a:fillRect/>
          </a:stretch>
        </p:blipFill>
        <p:spPr bwMode="auto">
          <a:xfrm>
            <a:off x="4863684" y="642730"/>
            <a:ext cx="2464631" cy="1828800"/>
          </a:xfrm>
          <a:prstGeom prst="rect">
            <a:avLst/>
          </a:prstGeom>
          <a:noFill/>
          <a:ln w="19050">
            <a:solidFill>
              <a:srgbClr val="92D050"/>
            </a:solidFill>
            <a:miter lim="800000"/>
            <a:headEnd/>
            <a:tailEnd/>
          </a:ln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B7B224EB-C258-3C41-8FD7-A07F665F7F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67332" t="3595" r="1850" b="55723"/>
          <a:stretch>
            <a:fillRect/>
          </a:stretch>
        </p:blipFill>
        <p:spPr bwMode="auto">
          <a:xfrm>
            <a:off x="9136048" y="642730"/>
            <a:ext cx="2467988" cy="1828800"/>
          </a:xfrm>
          <a:prstGeom prst="rect">
            <a:avLst/>
          </a:prstGeom>
          <a:noFill/>
          <a:ln w="19050">
            <a:solidFill>
              <a:srgbClr val="FFB645"/>
            </a:solidFill>
            <a:miter lim="800000"/>
            <a:headEnd/>
            <a:tailEnd/>
          </a:ln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B3A7AF64-D37E-784C-A2FE-CC7459600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5140" t="57520" r="69902" b="9527"/>
          <a:stretch>
            <a:fillRect/>
          </a:stretch>
        </p:blipFill>
        <p:spPr bwMode="auto">
          <a:xfrm>
            <a:off x="4861559" y="4387653"/>
            <a:ext cx="2468880" cy="1827617"/>
          </a:xfrm>
          <a:prstGeom prst="rect">
            <a:avLst/>
          </a:prstGeom>
          <a:noFill/>
          <a:ln w="19050">
            <a:solidFill>
              <a:srgbClr val="6CEAFF"/>
            </a:solidFill>
            <a:miter lim="800000"/>
            <a:headEnd/>
            <a:tailEnd/>
          </a:ln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68F74D43-B26A-744C-8E2F-56BA776A72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 l="67023" t="57520" r="6476" b="3595"/>
          <a:stretch>
            <a:fillRect/>
          </a:stretch>
        </p:blipFill>
        <p:spPr bwMode="auto">
          <a:xfrm>
            <a:off x="9131165" y="4386470"/>
            <a:ext cx="2472871" cy="1828800"/>
          </a:xfrm>
          <a:prstGeom prst="rect">
            <a:avLst/>
          </a:prstGeom>
          <a:noFill/>
          <a:ln w="19050">
            <a:solidFill>
              <a:srgbClr val="FF535E"/>
            </a:solidFill>
            <a:miter lim="800000"/>
            <a:headEnd/>
            <a:tailEnd/>
          </a:ln>
        </p:spPr>
      </p:pic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E1A4EF65-E18D-EB4B-A334-509C8256EB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6631208"/>
              </p:ext>
            </p:extLst>
          </p:nvPr>
        </p:nvGraphicFramePr>
        <p:xfrm>
          <a:off x="6249183" y="1702904"/>
          <a:ext cx="4041913" cy="378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8014B30E-B4F5-D240-B804-48909AB7DE1F}"/>
              </a:ext>
            </a:extLst>
          </p:cNvPr>
          <p:cNvSpPr txBox="1"/>
          <p:nvPr/>
        </p:nvSpPr>
        <p:spPr>
          <a:xfrm>
            <a:off x="851727" y="3595204"/>
            <a:ext cx="2358338" cy="6848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solidFill>
                  <a:srgbClr val="3A5783"/>
                </a:solidFill>
                <a:latin typeface="Georgia" panose="02040502050405020303" pitchFamily="18" charset="0"/>
                <a:cs typeface="Century Gothic"/>
              </a:rPr>
              <a:t>The Whole is Greater Than </a:t>
            </a:r>
          </a:p>
          <a:p>
            <a:pPr algn="ctr"/>
            <a:r>
              <a:rPr lang="en-US" sz="1400" dirty="0">
                <a:solidFill>
                  <a:srgbClr val="3A5783"/>
                </a:solidFill>
                <a:latin typeface="Georgia" panose="02040502050405020303" pitchFamily="18" charset="0"/>
                <a:cs typeface="Century Gothic"/>
              </a:rPr>
              <a:t>The Sum of Its Parts.</a:t>
            </a:r>
          </a:p>
          <a:p>
            <a:pPr algn="ctr"/>
            <a:r>
              <a:rPr lang="en-US" sz="1050" i="1" dirty="0">
                <a:solidFill>
                  <a:srgbClr val="3A5783"/>
                </a:solidFill>
                <a:latin typeface="Georgia" panose="02040502050405020303" pitchFamily="18" charset="0"/>
                <a:cs typeface="Century Gothic"/>
              </a:rPr>
              <a:t>Aristotle </a:t>
            </a:r>
          </a:p>
        </p:txBody>
      </p:sp>
    </p:spTree>
    <p:extLst>
      <p:ext uri="{BB962C8B-B14F-4D97-AF65-F5344CB8AC3E}">
        <p14:creationId xmlns:p14="http://schemas.microsoft.com/office/powerpoint/2010/main" val="2029864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66D148-B05C-D74C-B8E4-D592B0312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Change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B43448-06C8-9344-946D-D9ED614DB1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80" y="1550096"/>
            <a:ext cx="4206240" cy="4206240"/>
          </a:xfrm>
          <a:prstGeom prst="rect">
            <a:avLst/>
          </a:prstGeom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78950209-B7C3-C34D-8CB0-4EDDF35DEF4E}"/>
              </a:ext>
            </a:extLst>
          </p:cNvPr>
          <p:cNvSpPr txBox="1">
            <a:spLocks/>
          </p:cNvSpPr>
          <p:nvPr/>
        </p:nvSpPr>
        <p:spPr>
          <a:xfrm>
            <a:off x="5943600" y="1571318"/>
            <a:ext cx="5228439" cy="3476672"/>
          </a:xfrm>
          <a:prstGeom prst="rect">
            <a:avLst/>
          </a:prstGeom>
        </p:spPr>
        <p:txBody>
          <a:bodyPr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alibri" panose="020F0502020204030204" pitchFamily="34" charset="0"/>
              <a:buNone/>
            </a:pPr>
            <a:r>
              <a:rPr lang="en-US" sz="2400" dirty="0"/>
              <a:t>ITIL – A detailed set of practices for IT Service Management that focuses on aligning IT services with the need of the business.</a:t>
            </a:r>
          </a:p>
          <a:p>
            <a:pPr marL="0" indent="0">
              <a:lnSpc>
                <a:spcPct val="150000"/>
              </a:lnSpc>
              <a:buFont typeface="Calibri" panose="020F0502020204030204" pitchFamily="34" charset="0"/>
              <a:buNone/>
            </a:pPr>
            <a:endParaRPr lang="en-US" sz="2400" dirty="0">
              <a:latin typeface="+mj-lt"/>
            </a:endParaRPr>
          </a:p>
          <a:p>
            <a:pPr marL="0" indent="0">
              <a:buFont typeface="Calibri" panose="020F0502020204030204" pitchFamily="34" charset="0"/>
              <a:buNone/>
            </a:pPr>
            <a:r>
              <a:rPr lang="en-US" sz="2400" dirty="0"/>
              <a:t>Change - The addition, modification or removal of anything that could have an effect on IT services.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49CD9D1-B4C2-41B9-A919-0CE9BEE620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2453629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66D148-B05C-D74C-B8E4-D592B0312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hange Management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B43448-06C8-9344-946D-D9ED614DB1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7280" y="1550096"/>
            <a:ext cx="4206240" cy="4206240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C2892BFC-80E8-FE4B-9031-895989DBAA0F}"/>
              </a:ext>
            </a:extLst>
          </p:cNvPr>
          <p:cNvSpPr txBox="1">
            <a:spLocks/>
          </p:cNvSpPr>
          <p:nvPr/>
        </p:nvSpPr>
        <p:spPr>
          <a:xfrm>
            <a:off x="5661388" y="1808922"/>
            <a:ext cx="5551095" cy="3488634"/>
          </a:xfrm>
          <a:prstGeom prst="rect">
            <a:avLst/>
          </a:prstGeom>
        </p:spPr>
        <p:txBody>
          <a:bodyPr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buClrTx/>
              <a:buFont typeface="Arial" panose="020B0604020202020204" pitchFamily="34" charset="0"/>
              <a:buChar char="•"/>
            </a:pPr>
            <a:r>
              <a:rPr lang="en-US" sz="2400" dirty="0"/>
              <a:t>Standardized methods and procedures</a:t>
            </a:r>
          </a:p>
          <a:p>
            <a:pPr lvl="1">
              <a:lnSpc>
                <a:spcPct val="100000"/>
              </a:lnSpc>
              <a:buClrTx/>
              <a:buFont typeface="Arial" panose="020B0604020202020204" pitchFamily="34" charset="0"/>
              <a:buChar char="•"/>
            </a:pPr>
            <a:endParaRPr lang="en-US" sz="2400" dirty="0"/>
          </a:p>
          <a:p>
            <a:pPr lvl="1">
              <a:lnSpc>
                <a:spcPct val="100000"/>
              </a:lnSpc>
              <a:buClrTx/>
              <a:buFont typeface="Arial" panose="020B0604020202020204" pitchFamily="34" charset="0"/>
              <a:buChar char="•"/>
            </a:pPr>
            <a:r>
              <a:rPr lang="en-US" sz="2400" dirty="0"/>
              <a:t>Used for efficient and prompt handling of all Changes to control IT infrastructure</a:t>
            </a:r>
          </a:p>
          <a:p>
            <a:pPr lvl="1">
              <a:lnSpc>
                <a:spcPct val="100000"/>
              </a:lnSpc>
              <a:buClrTx/>
              <a:buFont typeface="Arial" panose="020B0604020202020204" pitchFamily="34" charset="0"/>
              <a:buChar char="•"/>
            </a:pPr>
            <a:endParaRPr lang="en-US" sz="2400" dirty="0"/>
          </a:p>
          <a:p>
            <a:pPr lvl="1">
              <a:lnSpc>
                <a:spcPct val="100000"/>
              </a:lnSpc>
              <a:buClrTx/>
              <a:buFont typeface="Arial" panose="020B0604020202020204" pitchFamily="34" charset="0"/>
              <a:buChar char="•"/>
            </a:pPr>
            <a:r>
              <a:rPr lang="en-US" sz="2400" dirty="0"/>
              <a:t>To minimize the number and impact of any related incidents upon servi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1E1B29-C704-F540-BE61-C199CC9C718A}"/>
              </a:ext>
            </a:extLst>
          </p:cNvPr>
          <p:cNvSpPr txBox="1"/>
          <p:nvPr/>
        </p:nvSpPr>
        <p:spPr bwMode="gray">
          <a:xfrm>
            <a:off x="1705979" y="5987308"/>
            <a:ext cx="7910818" cy="352637"/>
          </a:xfrm>
          <a:prstGeom prst="rect">
            <a:avLst/>
          </a:prstGeom>
          <a:noFill/>
        </p:spPr>
        <p:txBody>
          <a:bodyPr wrap="square" lIns="45720" rIns="45720" spcCol="45720" rtlCol="0">
            <a:noAutofit/>
          </a:bodyPr>
          <a:lstStyle/>
          <a:p>
            <a:pPr>
              <a:spcBef>
                <a:spcPts val="600"/>
              </a:spcBef>
              <a:buSzPct val="100000"/>
              <a:defRPr/>
            </a:pPr>
            <a:r>
              <a:rPr lang="en-US" sz="1400" dirty="0">
                <a:highlight>
                  <a:srgbClr val="FFFF00"/>
                </a:highlight>
              </a:rPr>
              <a:t>* 80% of unplanned outages are due to ill-planned changes made by operations staff or developers </a:t>
            </a:r>
            <a:endParaRPr lang="en-US" sz="2000" dirty="0">
              <a:highlight>
                <a:srgbClr val="FFFF00"/>
              </a:highlight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6415C55-5CA2-4FE1-BFD6-F51D5AF001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962581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A2656-EDA3-274A-B445-458B3B5A3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Chang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9B2ABC-8E4E-1E4E-961A-732EC61EE4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80" y="1480390"/>
            <a:ext cx="6309907" cy="468951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89B7748-6D7C-AC42-8924-DF23D6062B5C}"/>
              </a:ext>
            </a:extLst>
          </p:cNvPr>
          <p:cNvSpPr/>
          <p:nvPr/>
        </p:nvSpPr>
        <p:spPr>
          <a:xfrm>
            <a:off x="7831423" y="2102483"/>
            <a:ext cx="371287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Undocumented change</a:t>
            </a:r>
            <a:br>
              <a:rPr lang="en-US" sz="2400" dirty="0"/>
            </a:b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isrupted business for multiple hours</a:t>
            </a:r>
            <a:br>
              <a:rPr lang="en-US" sz="2400" dirty="0"/>
            </a:b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educed schedules and cancelled procedures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FD670F3-3114-4991-9660-CD9055FECF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221883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E4D31B-EBCC-BE4E-93A5-ECF62F2B9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 Overview</a:t>
            </a:r>
          </a:p>
        </p:txBody>
      </p:sp>
    </p:spTree>
    <p:extLst>
      <p:ext uri="{BB962C8B-B14F-4D97-AF65-F5344CB8AC3E}">
        <p14:creationId xmlns:p14="http://schemas.microsoft.com/office/powerpoint/2010/main" val="2972702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62F3E8-53E2-F845-88D3-14E673842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Management Roles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59CF7696-AC66-E74A-9D25-BC2669DF9212}"/>
              </a:ext>
            </a:extLst>
          </p:cNvPr>
          <p:cNvSpPr txBox="1">
            <a:spLocks/>
          </p:cNvSpPr>
          <p:nvPr/>
        </p:nvSpPr>
        <p:spPr>
          <a:xfrm>
            <a:off x="641350" y="1222513"/>
            <a:ext cx="5142674" cy="4449418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alibri" panose="020F0502020204030204" pitchFamily="34" charset="0"/>
              <a:buNone/>
            </a:pPr>
            <a:endParaRPr lang="en-US" dirty="0"/>
          </a:p>
          <a:p>
            <a:pPr marL="0" indent="0">
              <a:buClrTx/>
              <a:buNone/>
            </a:pPr>
            <a:r>
              <a:rPr lang="en-US" sz="2400" dirty="0"/>
              <a:t>Roles include:</a:t>
            </a:r>
            <a:br>
              <a:rPr lang="en-US" sz="2400" dirty="0"/>
            </a:br>
            <a:endParaRPr lang="en-US" sz="2400" dirty="0"/>
          </a:p>
          <a:p>
            <a:pPr marL="635508" lvl="1" indent="-342900">
              <a:buClrTx/>
              <a:buFont typeface="Arial" panose="020B0604020202020204" pitchFamily="34" charset="0"/>
              <a:buChar char="•"/>
            </a:pPr>
            <a:r>
              <a:rPr lang="en-US" sz="2200" dirty="0"/>
              <a:t>Change Requester</a:t>
            </a:r>
          </a:p>
          <a:p>
            <a:pPr marL="635508" lvl="1" indent="-342900">
              <a:buClrTx/>
              <a:buFont typeface="Arial" panose="020B0604020202020204" pitchFamily="34" charset="0"/>
              <a:buChar char="•"/>
            </a:pPr>
            <a:r>
              <a:rPr lang="en-US" sz="2200" dirty="0"/>
              <a:t>Change Approver</a:t>
            </a:r>
          </a:p>
          <a:p>
            <a:pPr marL="635508" lvl="1" indent="-342900">
              <a:buClrTx/>
              <a:buFont typeface="Arial" panose="020B0604020202020204" pitchFamily="34" charset="0"/>
              <a:buChar char="•"/>
            </a:pPr>
            <a:r>
              <a:rPr lang="en-US" sz="2200" dirty="0"/>
              <a:t>Change Implementor</a:t>
            </a:r>
          </a:p>
          <a:p>
            <a:pPr marL="635508" lvl="1" indent="-342900">
              <a:buClrTx/>
              <a:buFont typeface="Arial" panose="020B0604020202020204" pitchFamily="34" charset="0"/>
              <a:buChar char="•"/>
            </a:pPr>
            <a:r>
              <a:rPr lang="en-US" sz="2200" dirty="0"/>
              <a:t>Change Manager</a:t>
            </a:r>
          </a:p>
          <a:p>
            <a:pPr marL="635508" lvl="1" indent="-342900">
              <a:buClrTx/>
              <a:buFont typeface="Arial" panose="020B0604020202020204" pitchFamily="34" charset="0"/>
              <a:buChar char="•"/>
            </a:pPr>
            <a:r>
              <a:rPr lang="en-US" sz="2200" dirty="0"/>
              <a:t>Change Control Board (CCB)</a:t>
            </a:r>
          </a:p>
          <a:p>
            <a:pPr marL="635508" lvl="1" indent="-342900">
              <a:buClrTx/>
              <a:buFont typeface="Arial" panose="020B0604020202020204" pitchFamily="34" charset="0"/>
              <a:buChar char="•"/>
            </a:pPr>
            <a:r>
              <a:rPr lang="en-US" sz="2200" dirty="0"/>
              <a:t>Change Advisory Board (CAB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A01BDD-23C5-BF40-8B1A-B4DA5E72FC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526205"/>
            <a:ext cx="4686743" cy="3805590"/>
          </a:xfrm>
          <a:prstGeom prst="rect">
            <a:avLst/>
          </a:prstGeom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674BB8E-14FD-4ED8-821C-7EE63CD2CE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/>
          <a:lstStyle/>
          <a:p>
            <a:r>
              <a:rPr lang="en-US" dirty="0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609685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4B2D971685AC479551442E76DE265B" ma:contentTypeVersion="13" ma:contentTypeDescription="Create a new document." ma:contentTypeScope="" ma:versionID="9fcb441816a1b2c9bf6ddf4d8c045307">
  <xsd:schema xmlns:xsd="http://www.w3.org/2001/XMLSchema" xmlns:xs="http://www.w3.org/2001/XMLSchema" xmlns:p="http://schemas.microsoft.com/office/2006/metadata/properties" xmlns:ns2="c3d2e8ee-b099-431a-8d0a-64f2fd51d6b1" xmlns:ns3="f65bbe47-510b-4698-a5c1-18d86167af74" targetNamespace="http://schemas.microsoft.com/office/2006/metadata/properties" ma:root="true" ma:fieldsID="98bbec876da638097069c50336604034" ns2:_="" ns3:_="">
    <xsd:import namespace="c3d2e8ee-b099-431a-8d0a-64f2fd51d6b1"/>
    <xsd:import namespace="f65bbe47-510b-4698-a5c1-18d86167af7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SharingHintHash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d2e8ee-b099-431a-8d0a-64f2fd51d6b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5bbe47-510b-4698-a5c1-18d86167af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3d2e8ee-b099-431a-8d0a-64f2fd51d6b1">
      <UserInfo>
        <DisplayName>Rodrigues, Gerrick</DisplayName>
        <AccountId>2201</AccountId>
        <AccountType/>
      </UserInfo>
      <UserInfo>
        <DisplayName>Buckley, Michael F.</DisplayName>
        <AccountId>1337</AccountId>
        <AccountType/>
      </UserInfo>
      <UserInfo>
        <DisplayName>Tenney, Elise</DisplayName>
        <AccountId>1039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F317B909-2CDA-42C5-BD99-7D120AC550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3d2e8ee-b099-431a-8d0a-64f2fd51d6b1"/>
    <ds:schemaRef ds:uri="f65bbe47-510b-4698-a5c1-18d86167af7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670F074-0045-4D1F-BABA-BFB2D411D2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C89B43-3C39-4568-9DBA-B05D4C3EBCAE}">
  <ds:schemaRefs>
    <ds:schemaRef ds:uri="http://purl.org/dc/elements/1.1/"/>
    <ds:schemaRef ds:uri="http://schemas.microsoft.com/office/2006/metadata/properties"/>
    <ds:schemaRef ds:uri="c3d2e8ee-b099-431a-8d0a-64f2fd51d6b1"/>
    <ds:schemaRef ds:uri="http://schemas.microsoft.com/office/2006/documentManagement/types"/>
    <ds:schemaRef ds:uri="f65bbe47-510b-4698-a5c1-18d86167af74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17</TotalTime>
  <Words>1057</Words>
  <Application>Microsoft Office PowerPoint</Application>
  <PresentationFormat>Widescreen</PresentationFormat>
  <Paragraphs>249</Paragraphs>
  <Slides>2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Arial</vt:lpstr>
      <vt:lpstr>Calibri</vt:lpstr>
      <vt:lpstr>Calibri Light</vt:lpstr>
      <vt:lpstr>Century Gothic</vt:lpstr>
      <vt:lpstr>Georgia</vt:lpstr>
      <vt:lpstr>Palatino Linotype</vt:lpstr>
      <vt:lpstr>System Font Regular</vt:lpstr>
      <vt:lpstr>Wingdings</vt:lpstr>
      <vt:lpstr>Retrospect</vt:lpstr>
      <vt:lpstr>MGB_standard_template_082020</vt:lpstr>
      <vt:lpstr>think-cell Slide</vt:lpstr>
      <vt:lpstr>IS Change Management Overview Training</vt:lpstr>
      <vt:lpstr>Agenda</vt:lpstr>
      <vt:lpstr> High  Reliability Organization</vt:lpstr>
      <vt:lpstr>Our Mission</vt:lpstr>
      <vt:lpstr>What is a Change?</vt:lpstr>
      <vt:lpstr>What is Change Management?</vt:lpstr>
      <vt:lpstr>Impact of Changes</vt:lpstr>
      <vt:lpstr>Process Overview</vt:lpstr>
      <vt:lpstr>Change Management Roles</vt:lpstr>
      <vt:lpstr>Change Types, Subtypes, Lead-Time, Risk, and Impact</vt:lpstr>
      <vt:lpstr>Change Types</vt:lpstr>
      <vt:lpstr>Risk</vt:lpstr>
      <vt:lpstr>Impact</vt:lpstr>
      <vt:lpstr>Determining the Change Subtype</vt:lpstr>
      <vt:lpstr>Lead Time for a Normal Change</vt:lpstr>
      <vt:lpstr>Change Approval by Type and Subtype</vt:lpstr>
      <vt:lpstr>Workflow for Normal, Expedited, &amp; Emergency Changes</vt:lpstr>
      <vt:lpstr>Workflow for Pre-Approved Changes</vt:lpstr>
      <vt:lpstr>Change Management Meetings</vt:lpstr>
      <vt:lpstr>Subtypes, Lead times, and Meetings</vt:lpstr>
      <vt:lpstr>Change Compliance</vt:lpstr>
      <vt:lpstr>What is a Change Freeze?</vt:lpstr>
      <vt:lpstr>Change Freeze Types</vt:lpstr>
      <vt:lpstr>Change Freeze Periods</vt:lpstr>
      <vt:lpstr>Change Awards</vt:lpstr>
      <vt:lpstr>Questions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s General Brigham – Information Systems</dc:title>
  <dc:creator>Maury Collins</dc:creator>
  <cp:lastModifiedBy>Censullo, Paul V.</cp:lastModifiedBy>
  <cp:revision>54</cp:revision>
  <dcterms:created xsi:type="dcterms:W3CDTF">2020-08-29T02:16:25Z</dcterms:created>
  <dcterms:modified xsi:type="dcterms:W3CDTF">2021-03-17T00:1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4B2D971685AC479551442E76DE265B</vt:lpwstr>
  </property>
</Properties>
</file>